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4"/>
    <p:sldMasterId id="2147483710" r:id="rId5"/>
    <p:sldMasterId id="2147483722" r:id="rId6"/>
    <p:sldMasterId id="2147483750" r:id="rId7"/>
  </p:sldMasterIdLst>
  <p:notesMasterIdLst>
    <p:notesMasterId r:id="rId20"/>
  </p:notesMasterIdLst>
  <p:sldIdLst>
    <p:sldId id="311" r:id="rId8"/>
    <p:sldId id="257" r:id="rId9"/>
    <p:sldId id="309" r:id="rId10"/>
    <p:sldId id="313" r:id="rId11"/>
    <p:sldId id="315" r:id="rId12"/>
    <p:sldId id="317" r:id="rId13"/>
    <p:sldId id="925" r:id="rId14"/>
    <p:sldId id="318" r:id="rId15"/>
    <p:sldId id="264" r:id="rId16"/>
    <p:sldId id="263" r:id="rId17"/>
    <p:sldId id="259" r:id="rId18"/>
    <p:sldId id="265" r:id="rId19"/>
  </p:sldIdLst>
  <p:sldSz cx="9144000" cy="5143500" type="screen16x9"/>
  <p:notesSz cx="6797675" cy="9928225"/>
  <p:embeddedFontLst>
    <p:embeddedFont>
      <p:font typeface="Bebas Neue" panose="020B0604020202020204" charset="0"/>
      <p:regular r:id="rId21"/>
      <p:bold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libri Light" panose="020F0302020204030204" pitchFamily="34" charset="0"/>
      <p:regular r:id="rId27"/>
      <p:italic r:id="rId28"/>
    </p:embeddedFont>
    <p:embeddedFont>
      <p:font typeface="Libre Franklin" pitchFamily="2" charset="0"/>
      <p:regular r:id="rId29"/>
      <p:bold r:id="rId30"/>
      <p:italic r:id="rId31"/>
      <p:boldItalic r:id="rId32"/>
    </p:embeddedFont>
    <p:embeddedFont>
      <p:font typeface="Livvic" panose="020B0604020202020204" charset="0"/>
      <p:regular r:id="rId33"/>
      <p:bold r:id="rId34"/>
      <p:italic r:id="rId35"/>
      <p:boldItalic r:id="rId36"/>
    </p:embeddedFont>
    <p:embeddedFont>
      <p:font typeface="Open Sans" panose="020B0606030504020204" pitchFamily="34" charset="0"/>
      <p:regular r:id="rId37"/>
      <p:bold r:id="rId38"/>
      <p:italic r:id="rId39"/>
      <p:boldItalic r:id="rId40"/>
    </p:embeddedFont>
    <p:embeddedFont>
      <p:font typeface="Poppins" panose="00000500000000000000" pitchFamily="2" charset="0"/>
      <p:regular r:id="rId41"/>
      <p:bold r:id="rId42"/>
      <p:italic r:id="rId43"/>
      <p:boldItalic r:id="rId44"/>
    </p:embeddedFont>
    <p:embeddedFont>
      <p:font typeface="Poppins ExtraBold" panose="00000900000000000000" pitchFamily="2" charset="0"/>
      <p:bold r:id="rId45"/>
      <p:boldItalic r:id="rId46"/>
    </p:embeddedFont>
    <p:embeddedFont>
      <p:font typeface="Raleway Black" pitchFamily="2" charset="0"/>
      <p:bold r:id="rId47"/>
      <p:boldItalic r:id="rId48"/>
    </p:embeddedFont>
    <p:embeddedFont>
      <p:font typeface="Roboto Condensed Light" panose="02000000000000000000" pitchFamily="2" charset="0"/>
      <p:regular r:id="rId49"/>
      <p:italic r:id="rId50"/>
    </p:embeddedFont>
    <p:embeddedFont>
      <p:font typeface="Source Sans Pro" panose="020B0503030403020204" pitchFamily="34" charset="0"/>
      <p:regular r:id="rId51"/>
      <p:bold r:id="rId52"/>
      <p:italic r:id="rId53"/>
      <p:boldItalic r:id="rId54"/>
    </p:embeddedFont>
    <p:embeddedFont>
      <p:font typeface="Titillium Web" panose="00000500000000000000" pitchFamily="2" charset="0"/>
      <p:regular r:id="rId55"/>
      <p:bold r:id="rId56"/>
      <p:italic r:id="rId57"/>
      <p:boldItalic r:id="rId58"/>
    </p:embeddedFont>
    <p:embeddedFont>
      <p:font typeface="Titillium Web Bold" panose="00000800000000000000" charset="0"/>
      <p:bold r:id="rId59"/>
    </p:embeddedFont>
    <p:embeddedFont>
      <p:font typeface="Titillium Web SemiBold" panose="00000700000000000000" pitchFamily="2" charset="0"/>
      <p:bold r:id="rId60"/>
      <p:boldItalic r:id="rId61"/>
    </p:embeddedFont>
  </p:embeddedFontLst>
  <p:custDataLst>
    <p:tags r:id="rId6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381" userDrawn="1">
          <p15:clr>
            <a:srgbClr val="A4A3A4"/>
          </p15:clr>
        </p15:guide>
        <p15:guide id="3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4F6228"/>
    <a:srgbClr val="C0504D"/>
    <a:srgbClr val="48A3FE"/>
    <a:srgbClr val="60BCD2"/>
    <a:srgbClr val="E63714"/>
    <a:srgbClr val="F89A28"/>
    <a:srgbClr val="DAA600"/>
    <a:srgbClr val="C49500"/>
    <a:srgbClr val="B6EF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21" autoAdjust="0"/>
    <p:restoredTop sz="94660"/>
  </p:normalViewPr>
  <p:slideViewPr>
    <p:cSldViewPr snapToGrid="0">
      <p:cViewPr varScale="1">
        <p:scale>
          <a:sx n="202" d="100"/>
          <a:sy n="202" d="100"/>
        </p:scale>
        <p:origin x="1084" y="136"/>
      </p:cViewPr>
      <p:guideLst>
        <p:guide orient="horz" pos="1620"/>
        <p:guide pos="2381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font" Target="fonts/font22.fntdata"/><Relationship Id="rId47" Type="http://schemas.openxmlformats.org/officeDocument/2006/relationships/font" Target="fonts/font27.fntdata"/><Relationship Id="rId50" Type="http://schemas.openxmlformats.org/officeDocument/2006/relationships/font" Target="fonts/font30.fntdata"/><Relationship Id="rId55" Type="http://schemas.openxmlformats.org/officeDocument/2006/relationships/font" Target="fonts/font35.fntdata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font" Target="fonts/font9.fntdata"/><Relationship Id="rId11" Type="http://schemas.openxmlformats.org/officeDocument/2006/relationships/slide" Target="slides/slide4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font" Target="fonts/font20.fntdata"/><Relationship Id="rId45" Type="http://schemas.openxmlformats.org/officeDocument/2006/relationships/font" Target="fonts/font25.fntdata"/><Relationship Id="rId53" Type="http://schemas.openxmlformats.org/officeDocument/2006/relationships/font" Target="fonts/font33.fntdata"/><Relationship Id="rId58" Type="http://schemas.openxmlformats.org/officeDocument/2006/relationships/font" Target="fonts/font38.fntdata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41.fntdata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font" Target="fonts/font23.fntdata"/><Relationship Id="rId48" Type="http://schemas.openxmlformats.org/officeDocument/2006/relationships/font" Target="fonts/font28.fntdata"/><Relationship Id="rId56" Type="http://schemas.openxmlformats.org/officeDocument/2006/relationships/font" Target="fonts/font36.fntdata"/><Relationship Id="rId64" Type="http://schemas.openxmlformats.org/officeDocument/2006/relationships/viewProps" Target="viewProps.xml"/><Relationship Id="rId8" Type="http://schemas.openxmlformats.org/officeDocument/2006/relationships/slide" Target="slides/slide1.xml"/><Relationship Id="rId51" Type="http://schemas.openxmlformats.org/officeDocument/2006/relationships/font" Target="fonts/font31.fntdata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46" Type="http://schemas.openxmlformats.org/officeDocument/2006/relationships/font" Target="fonts/font26.fntdata"/><Relationship Id="rId59" Type="http://schemas.openxmlformats.org/officeDocument/2006/relationships/font" Target="fonts/font39.fntdata"/><Relationship Id="rId67" Type="http://schemas.microsoft.com/office/2016/11/relationships/changesInfo" Target="changesInfos/changesInfo1.xml"/><Relationship Id="rId20" Type="http://schemas.openxmlformats.org/officeDocument/2006/relationships/notesMaster" Target="notesMasters/notesMaster1.xml"/><Relationship Id="rId41" Type="http://schemas.openxmlformats.org/officeDocument/2006/relationships/font" Target="fonts/font21.fntdata"/><Relationship Id="rId54" Type="http://schemas.openxmlformats.org/officeDocument/2006/relationships/font" Target="fonts/font34.fntdata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49" Type="http://schemas.openxmlformats.org/officeDocument/2006/relationships/font" Target="fonts/font29.fntdata"/><Relationship Id="rId57" Type="http://schemas.openxmlformats.org/officeDocument/2006/relationships/font" Target="fonts/font37.fntdata"/><Relationship Id="rId10" Type="http://schemas.openxmlformats.org/officeDocument/2006/relationships/slide" Target="slides/slide3.xml"/><Relationship Id="rId31" Type="http://schemas.openxmlformats.org/officeDocument/2006/relationships/font" Target="fonts/font11.fntdata"/><Relationship Id="rId44" Type="http://schemas.openxmlformats.org/officeDocument/2006/relationships/font" Target="fonts/font24.fntdata"/><Relationship Id="rId52" Type="http://schemas.openxmlformats.org/officeDocument/2006/relationships/font" Target="fonts/font32.fntdata"/><Relationship Id="rId60" Type="http://schemas.openxmlformats.org/officeDocument/2006/relationships/font" Target="fonts/font40.fntdata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font" Target="fonts/font19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lwia Sekula-Neuner" userId="eb3cf9ea-7e1a-4747-b59f-da3eecfb8632" providerId="ADAL" clId="{EF4349A9-12E4-4EE8-A85B-53BDE31BA378}"/>
    <pc:docChg chg="undo custSel addSld delSld modSld sldOrd">
      <pc:chgData name="Sylwia Sekula-Neuner" userId="eb3cf9ea-7e1a-4747-b59f-da3eecfb8632" providerId="ADAL" clId="{EF4349A9-12E4-4EE8-A85B-53BDE31BA378}" dt="2024-06-25T13:39:14.787" v="271" actId="6549"/>
      <pc:docMkLst>
        <pc:docMk/>
      </pc:docMkLst>
      <pc:sldChg chg="modSp mod">
        <pc:chgData name="Sylwia Sekula-Neuner" userId="eb3cf9ea-7e1a-4747-b59f-da3eecfb8632" providerId="ADAL" clId="{EF4349A9-12E4-4EE8-A85B-53BDE31BA378}" dt="2024-06-21T13:08:01.885" v="245" actId="14100"/>
        <pc:sldMkLst>
          <pc:docMk/>
          <pc:sldMk cId="0" sldId="257"/>
        </pc:sldMkLst>
        <pc:spChg chg="mod">
          <ac:chgData name="Sylwia Sekula-Neuner" userId="eb3cf9ea-7e1a-4747-b59f-da3eecfb8632" providerId="ADAL" clId="{EF4349A9-12E4-4EE8-A85B-53BDE31BA378}" dt="2024-06-21T13:08:01.885" v="245" actId="14100"/>
          <ac:spMkLst>
            <pc:docMk/>
            <pc:sldMk cId="0" sldId="257"/>
            <ac:spMk id="14" creationId="{8AE63301-B029-423F-B431-1BCC71607F0C}"/>
          </ac:spMkLst>
        </pc:spChg>
      </pc:sldChg>
      <pc:sldChg chg="modSp mod">
        <pc:chgData name="Sylwia Sekula-Neuner" userId="eb3cf9ea-7e1a-4747-b59f-da3eecfb8632" providerId="ADAL" clId="{EF4349A9-12E4-4EE8-A85B-53BDE31BA378}" dt="2024-06-21T13:10:39.535" v="265" actId="948"/>
        <pc:sldMkLst>
          <pc:docMk/>
          <pc:sldMk cId="0" sldId="259"/>
        </pc:sldMkLst>
        <pc:spChg chg="mod">
          <ac:chgData name="Sylwia Sekula-Neuner" userId="eb3cf9ea-7e1a-4747-b59f-da3eecfb8632" providerId="ADAL" clId="{EF4349A9-12E4-4EE8-A85B-53BDE31BA378}" dt="2024-06-21T13:10:39.535" v="265" actId="948"/>
          <ac:spMkLst>
            <pc:docMk/>
            <pc:sldMk cId="0" sldId="259"/>
            <ac:spMk id="9" creationId="{3C47C48F-A809-4EF8-8CD4-85BB11EFCA5C}"/>
          </ac:spMkLst>
        </pc:spChg>
      </pc:sldChg>
      <pc:sldChg chg="modSp mod">
        <pc:chgData name="Sylwia Sekula-Neuner" userId="eb3cf9ea-7e1a-4747-b59f-da3eecfb8632" providerId="ADAL" clId="{EF4349A9-12E4-4EE8-A85B-53BDE31BA378}" dt="2024-06-21T13:00:00.716" v="210" actId="207"/>
        <pc:sldMkLst>
          <pc:docMk/>
          <pc:sldMk cId="0" sldId="263"/>
        </pc:sldMkLst>
        <pc:graphicFrameChg chg="modGraphic">
          <ac:chgData name="Sylwia Sekula-Neuner" userId="eb3cf9ea-7e1a-4747-b59f-da3eecfb8632" providerId="ADAL" clId="{EF4349A9-12E4-4EE8-A85B-53BDE31BA378}" dt="2024-06-21T13:00:00.716" v="210" actId="207"/>
          <ac:graphicFrameMkLst>
            <pc:docMk/>
            <pc:sldMk cId="0" sldId="263"/>
            <ac:graphicFrameMk id="14" creationId="{AAC38344-23FB-4F2C-A15E-252F9560DCD4}"/>
          </ac:graphicFrameMkLst>
        </pc:graphicFrameChg>
      </pc:sldChg>
      <pc:sldChg chg="addSp delSp modSp mod ord">
        <pc:chgData name="Sylwia Sekula-Neuner" userId="eb3cf9ea-7e1a-4747-b59f-da3eecfb8632" providerId="ADAL" clId="{EF4349A9-12E4-4EE8-A85B-53BDE31BA378}" dt="2024-06-18T12:17:49.358" v="155" actId="1076"/>
        <pc:sldMkLst>
          <pc:docMk/>
          <pc:sldMk cId="0" sldId="264"/>
        </pc:sldMkLst>
        <pc:spChg chg="mod">
          <ac:chgData name="Sylwia Sekula-Neuner" userId="eb3cf9ea-7e1a-4747-b59f-da3eecfb8632" providerId="ADAL" clId="{EF4349A9-12E4-4EE8-A85B-53BDE31BA378}" dt="2024-06-18T11:57:29.105" v="103" actId="20577"/>
          <ac:spMkLst>
            <pc:docMk/>
            <pc:sldMk cId="0" sldId="264"/>
            <ac:spMk id="30" creationId="{B07CA873-D948-4568-8CA6-D01565CD9A22}"/>
          </ac:spMkLst>
        </pc:spChg>
        <pc:spChg chg="mod">
          <ac:chgData name="Sylwia Sekula-Neuner" userId="eb3cf9ea-7e1a-4747-b59f-da3eecfb8632" providerId="ADAL" clId="{EF4349A9-12E4-4EE8-A85B-53BDE31BA378}" dt="2024-06-18T11:54:55.809" v="62"/>
          <ac:spMkLst>
            <pc:docMk/>
            <pc:sldMk cId="0" sldId="264"/>
            <ac:spMk id="31" creationId="{9724949E-6290-45A4-8517-A1125FF2C53B}"/>
          </ac:spMkLst>
        </pc:spChg>
        <pc:spChg chg="mod">
          <ac:chgData name="Sylwia Sekula-Neuner" userId="eb3cf9ea-7e1a-4747-b59f-da3eecfb8632" providerId="ADAL" clId="{EF4349A9-12E4-4EE8-A85B-53BDE31BA378}" dt="2024-06-18T11:57:33.448" v="105" actId="20577"/>
          <ac:spMkLst>
            <pc:docMk/>
            <pc:sldMk cId="0" sldId="264"/>
            <ac:spMk id="35" creationId="{A1930BAD-BF2B-49E4-95A7-0840A2EF2586}"/>
          </ac:spMkLst>
        </pc:spChg>
        <pc:spChg chg="mod">
          <ac:chgData name="Sylwia Sekula-Neuner" userId="eb3cf9ea-7e1a-4747-b59f-da3eecfb8632" providerId="ADAL" clId="{EF4349A9-12E4-4EE8-A85B-53BDE31BA378}" dt="2024-06-18T11:54:55.809" v="62"/>
          <ac:spMkLst>
            <pc:docMk/>
            <pc:sldMk cId="0" sldId="264"/>
            <ac:spMk id="36" creationId="{8C54B408-2C97-4643-997B-8A90627B5EFD}"/>
          </ac:spMkLst>
        </pc:spChg>
        <pc:spChg chg="mod">
          <ac:chgData name="Sylwia Sekula-Neuner" userId="eb3cf9ea-7e1a-4747-b59f-da3eecfb8632" providerId="ADAL" clId="{EF4349A9-12E4-4EE8-A85B-53BDE31BA378}" dt="2024-06-18T11:57:19.073" v="101" actId="207"/>
          <ac:spMkLst>
            <pc:docMk/>
            <pc:sldMk cId="0" sldId="264"/>
            <ac:spMk id="40" creationId="{1D92AB67-C642-477E-BFD8-5B0DE89D76A0}"/>
          </ac:spMkLst>
        </pc:spChg>
        <pc:spChg chg="mod">
          <ac:chgData name="Sylwia Sekula-Neuner" userId="eb3cf9ea-7e1a-4747-b59f-da3eecfb8632" providerId="ADAL" clId="{EF4349A9-12E4-4EE8-A85B-53BDE31BA378}" dt="2024-06-18T11:54:55.809" v="62"/>
          <ac:spMkLst>
            <pc:docMk/>
            <pc:sldMk cId="0" sldId="264"/>
            <ac:spMk id="41" creationId="{871F457D-F9BA-41C0-B3B5-AFBEDC6495E3}"/>
          </ac:spMkLst>
        </pc:spChg>
        <pc:spChg chg="add mod">
          <ac:chgData name="Sylwia Sekula-Neuner" userId="eb3cf9ea-7e1a-4747-b59f-da3eecfb8632" providerId="ADAL" clId="{EF4349A9-12E4-4EE8-A85B-53BDE31BA378}" dt="2024-06-18T11:55:53.704" v="66" actId="207"/>
          <ac:spMkLst>
            <pc:docMk/>
            <pc:sldMk cId="0" sldId="264"/>
            <ac:spMk id="42" creationId="{D00EEB37-0475-4DB3-B919-2C7FF5A915C2}"/>
          </ac:spMkLst>
        </pc:spChg>
        <pc:spChg chg="add mod">
          <ac:chgData name="Sylwia Sekula-Neuner" userId="eb3cf9ea-7e1a-4747-b59f-da3eecfb8632" providerId="ADAL" clId="{EF4349A9-12E4-4EE8-A85B-53BDE31BA378}" dt="2024-06-18T11:55:53.704" v="66" actId="207"/>
          <ac:spMkLst>
            <pc:docMk/>
            <pc:sldMk cId="0" sldId="264"/>
            <ac:spMk id="43" creationId="{3FEBEE92-7660-44FB-B48F-2CB4617DE86A}"/>
          </ac:spMkLst>
        </pc:spChg>
        <pc:spChg chg="add mod">
          <ac:chgData name="Sylwia Sekula-Neuner" userId="eb3cf9ea-7e1a-4747-b59f-da3eecfb8632" providerId="ADAL" clId="{EF4349A9-12E4-4EE8-A85B-53BDE31BA378}" dt="2024-06-18T11:55:53.704" v="66" actId="207"/>
          <ac:spMkLst>
            <pc:docMk/>
            <pc:sldMk cId="0" sldId="264"/>
            <ac:spMk id="44" creationId="{635AE473-204B-4F83-8174-337AFD6AF43B}"/>
          </ac:spMkLst>
        </pc:spChg>
        <pc:spChg chg="add mod">
          <ac:chgData name="Sylwia Sekula-Neuner" userId="eb3cf9ea-7e1a-4747-b59f-da3eecfb8632" providerId="ADAL" clId="{EF4349A9-12E4-4EE8-A85B-53BDE31BA378}" dt="2024-06-18T11:55:53.704" v="66" actId="207"/>
          <ac:spMkLst>
            <pc:docMk/>
            <pc:sldMk cId="0" sldId="264"/>
            <ac:spMk id="45" creationId="{694D2B79-27EE-4BF9-B8CF-0F95CA4F397C}"/>
          </ac:spMkLst>
        </pc:spChg>
        <pc:spChg chg="add mod">
          <ac:chgData name="Sylwia Sekula-Neuner" userId="eb3cf9ea-7e1a-4747-b59f-da3eecfb8632" providerId="ADAL" clId="{EF4349A9-12E4-4EE8-A85B-53BDE31BA378}" dt="2024-06-18T11:59:18.258" v="141" actId="1036"/>
          <ac:spMkLst>
            <pc:docMk/>
            <pc:sldMk cId="0" sldId="264"/>
            <ac:spMk id="46" creationId="{5E6D3690-D33A-499C-AEC5-F4CBBE19F241}"/>
          </ac:spMkLst>
        </pc:spChg>
        <pc:spChg chg="add mod">
          <ac:chgData name="Sylwia Sekula-Neuner" userId="eb3cf9ea-7e1a-4747-b59f-da3eecfb8632" providerId="ADAL" clId="{EF4349A9-12E4-4EE8-A85B-53BDE31BA378}" dt="2024-06-18T11:59:18.258" v="141" actId="1036"/>
          <ac:spMkLst>
            <pc:docMk/>
            <pc:sldMk cId="0" sldId="264"/>
            <ac:spMk id="47" creationId="{0A7A8DA1-B67A-4686-A53F-296D9363E89F}"/>
          </ac:spMkLst>
        </pc:spChg>
        <pc:spChg chg="add mod">
          <ac:chgData name="Sylwia Sekula-Neuner" userId="eb3cf9ea-7e1a-4747-b59f-da3eecfb8632" providerId="ADAL" clId="{EF4349A9-12E4-4EE8-A85B-53BDE31BA378}" dt="2024-06-18T11:59:18.258" v="141" actId="1036"/>
          <ac:spMkLst>
            <pc:docMk/>
            <pc:sldMk cId="0" sldId="264"/>
            <ac:spMk id="48" creationId="{7006555E-81FA-4125-BE68-2B4F61DF1E86}"/>
          </ac:spMkLst>
        </pc:spChg>
        <pc:spChg chg="add del mod">
          <ac:chgData name="Sylwia Sekula-Neuner" userId="eb3cf9ea-7e1a-4747-b59f-da3eecfb8632" providerId="ADAL" clId="{EF4349A9-12E4-4EE8-A85B-53BDE31BA378}" dt="2024-06-18T11:55:11.876" v="64" actId="478"/>
          <ac:spMkLst>
            <pc:docMk/>
            <pc:sldMk cId="0" sldId="264"/>
            <ac:spMk id="49" creationId="{B06E14FF-86BD-4027-B178-104FA739C118}"/>
          </ac:spMkLst>
        </pc:spChg>
        <pc:spChg chg="add mod">
          <ac:chgData name="Sylwia Sekula-Neuner" userId="eb3cf9ea-7e1a-4747-b59f-da3eecfb8632" providerId="ADAL" clId="{EF4349A9-12E4-4EE8-A85B-53BDE31BA378}" dt="2024-06-18T11:56:49.983" v="83" actId="208"/>
          <ac:spMkLst>
            <pc:docMk/>
            <pc:sldMk cId="0" sldId="264"/>
            <ac:spMk id="50" creationId="{5AB11C5D-7B08-4267-B50D-B31E4CFED2AA}"/>
          </ac:spMkLst>
        </pc:spChg>
        <pc:spChg chg="add mod">
          <ac:chgData name="Sylwia Sekula-Neuner" userId="eb3cf9ea-7e1a-4747-b59f-da3eecfb8632" providerId="ADAL" clId="{EF4349A9-12E4-4EE8-A85B-53BDE31BA378}" dt="2024-06-18T11:55:04.954" v="63"/>
          <ac:spMkLst>
            <pc:docMk/>
            <pc:sldMk cId="0" sldId="264"/>
            <ac:spMk id="51" creationId="{3B29FA30-1B31-4C55-B24F-67DA01F264E4}"/>
          </ac:spMkLst>
        </pc:spChg>
        <pc:spChg chg="add del mod">
          <ac:chgData name="Sylwia Sekula-Neuner" userId="eb3cf9ea-7e1a-4747-b59f-da3eecfb8632" providerId="ADAL" clId="{EF4349A9-12E4-4EE8-A85B-53BDE31BA378}" dt="2024-06-18T11:58:46.823" v="108"/>
          <ac:spMkLst>
            <pc:docMk/>
            <pc:sldMk cId="0" sldId="264"/>
            <ac:spMk id="52" creationId="{059D73C8-005C-4AA1-9907-39456636D9BB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80" creationId="{4626F1C0-35CB-43CC-B22E-88D554BBD8FF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81" creationId="{2161BB88-35DC-4EA1-A993-059CEF4F924D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85" creationId="{2DC154BD-2A9F-4C26-8D70-81D7C2BB56EC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86" creationId="{A509EE88-DE70-4817-9330-FF6768F6FA7F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0" creationId="{8E263C87-2690-4208-8AA1-87BFA44557ED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1" creationId="{644181D9-4FA6-40FF-B719-55E51E4133FB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4" creationId="{CAC3555F-8203-4109-9466-A358F13D6875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5" creationId="{71AB039F-A7A8-4CA4-8297-E44B28726E3E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6" creationId="{6A465374-C008-476B-B675-6E8E88396C96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97" creationId="{A34A59EA-983A-4C35-9891-886A4959614E}"/>
          </ac:spMkLst>
        </pc:spChg>
        <pc:spChg chg="del">
          <ac:chgData name="Sylwia Sekula-Neuner" userId="eb3cf9ea-7e1a-4747-b59f-da3eecfb8632" providerId="ADAL" clId="{EF4349A9-12E4-4EE8-A85B-53BDE31BA378}" dt="2024-06-18T11:54:55.252" v="61" actId="478"/>
          <ac:spMkLst>
            <pc:docMk/>
            <pc:sldMk cId="0" sldId="264"/>
            <ac:spMk id="98" creationId="{F13D4C98-8B8C-49D5-B851-9F2AE4B8250B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01" creationId="{4F6E472A-FF98-4D53-8C7A-7A05525DE79A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03" creationId="{50D694F8-AB65-4EE9-8785-221CF5F451B1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04" creationId="{185766E4-4DC4-4FA3-9C69-9F6A4CC9EFB6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06" creationId="{8DBC0321-A489-433C-93A8-C0C820526AFD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11" creationId="{09DBD7C3-FBC5-4BA2-A1A1-3C9486755C19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12" creationId="{FC79E171-5DCC-4580-B961-BA335907BB78}"/>
          </ac:spMkLst>
        </pc:spChg>
        <pc:spChg chg="del">
          <ac:chgData name="Sylwia Sekula-Neuner" userId="eb3cf9ea-7e1a-4747-b59f-da3eecfb8632" providerId="ADAL" clId="{EF4349A9-12E4-4EE8-A85B-53BDE31BA378}" dt="2024-06-18T11:54:53.116" v="60" actId="478"/>
          <ac:spMkLst>
            <pc:docMk/>
            <pc:sldMk cId="0" sldId="264"/>
            <ac:spMk id="113" creationId="{B7F12C32-D4C7-494A-A2A5-BDE36CF2AB0E}"/>
          </ac:spMkLst>
        </pc:spChg>
        <pc:grpChg chg="add del mod">
          <ac:chgData name="Sylwia Sekula-Neuner" userId="eb3cf9ea-7e1a-4747-b59f-da3eecfb8632" providerId="ADAL" clId="{EF4349A9-12E4-4EE8-A85B-53BDE31BA378}" dt="2024-06-18T11:56:57.408" v="84" actId="478"/>
          <ac:grpSpMkLst>
            <pc:docMk/>
            <pc:sldMk cId="0" sldId="264"/>
            <ac:grpSpMk id="27" creationId="{0F950E59-AEE7-4FBB-99F0-4F79B54411E0}"/>
          </ac:grpSpMkLst>
        </pc:grpChg>
        <pc:grpChg chg="mod topLvl">
          <ac:chgData name="Sylwia Sekula-Neuner" userId="eb3cf9ea-7e1a-4747-b59f-da3eecfb8632" providerId="ADAL" clId="{EF4349A9-12E4-4EE8-A85B-53BDE31BA378}" dt="2024-06-18T11:57:09.169" v="98" actId="1036"/>
          <ac:grpSpMkLst>
            <pc:docMk/>
            <pc:sldMk cId="0" sldId="264"/>
            <ac:grpSpMk id="28" creationId="{B0CE755E-9FF9-42AF-93DB-01460DF871A5}"/>
          </ac:grpSpMkLst>
        </pc:grpChg>
        <pc:grpChg chg="add del mod">
          <ac:chgData name="Sylwia Sekula-Neuner" userId="eb3cf9ea-7e1a-4747-b59f-da3eecfb8632" providerId="ADAL" clId="{EF4349A9-12E4-4EE8-A85B-53BDE31BA378}" dt="2024-06-18T11:57:00.528" v="85" actId="478"/>
          <ac:grpSpMkLst>
            <pc:docMk/>
            <pc:sldMk cId="0" sldId="264"/>
            <ac:grpSpMk id="32" creationId="{0A8AC76C-72F1-47A8-AA83-AD0CAC01FE34}"/>
          </ac:grpSpMkLst>
        </pc:grpChg>
        <pc:grpChg chg="mod topLvl">
          <ac:chgData name="Sylwia Sekula-Neuner" userId="eb3cf9ea-7e1a-4747-b59f-da3eecfb8632" providerId="ADAL" clId="{EF4349A9-12E4-4EE8-A85B-53BDE31BA378}" dt="2024-06-18T11:57:09.169" v="98" actId="1036"/>
          <ac:grpSpMkLst>
            <pc:docMk/>
            <pc:sldMk cId="0" sldId="264"/>
            <ac:grpSpMk id="33" creationId="{69DCB528-E147-48F3-A1AC-A502C20C1073}"/>
          </ac:grpSpMkLst>
        </pc:grpChg>
        <pc:grpChg chg="add del mod">
          <ac:chgData name="Sylwia Sekula-Neuner" userId="eb3cf9ea-7e1a-4747-b59f-da3eecfb8632" providerId="ADAL" clId="{EF4349A9-12E4-4EE8-A85B-53BDE31BA378}" dt="2024-06-18T11:57:02.802" v="86" actId="478"/>
          <ac:grpSpMkLst>
            <pc:docMk/>
            <pc:sldMk cId="0" sldId="264"/>
            <ac:grpSpMk id="37" creationId="{65A9D2EC-0FDD-4787-8E36-239D6E7B3B9D}"/>
          </ac:grpSpMkLst>
        </pc:grpChg>
        <pc:grpChg chg="mod topLvl">
          <ac:chgData name="Sylwia Sekula-Neuner" userId="eb3cf9ea-7e1a-4747-b59f-da3eecfb8632" providerId="ADAL" clId="{EF4349A9-12E4-4EE8-A85B-53BDE31BA378}" dt="2024-06-18T11:57:09.169" v="98" actId="1036"/>
          <ac:grpSpMkLst>
            <pc:docMk/>
            <pc:sldMk cId="0" sldId="264"/>
            <ac:grpSpMk id="38" creationId="{3E2311DE-80B5-45ED-9FEC-FCBE7DA0E162}"/>
          </ac:grpSpMkLst>
        </pc:grpChg>
        <pc:picChg chg="add mod">
          <ac:chgData name="Sylwia Sekula-Neuner" userId="eb3cf9ea-7e1a-4747-b59f-da3eecfb8632" providerId="ADAL" clId="{EF4349A9-12E4-4EE8-A85B-53BDE31BA378}" dt="2024-06-18T12:17:49.358" v="155" actId="1076"/>
          <ac:picMkLst>
            <pc:docMk/>
            <pc:sldMk cId="0" sldId="264"/>
            <ac:picMk id="2" creationId="{DBFA77AC-077C-47A0-BF64-97EBC7569497}"/>
          </ac:picMkLst>
        </pc:picChg>
        <pc:picChg chg="add mod">
          <ac:chgData name="Sylwia Sekula-Neuner" userId="eb3cf9ea-7e1a-4747-b59f-da3eecfb8632" providerId="ADAL" clId="{EF4349A9-12E4-4EE8-A85B-53BDE31BA378}" dt="2024-06-18T11:59:58.032" v="154" actId="1076"/>
          <ac:picMkLst>
            <pc:docMk/>
            <pc:sldMk cId="0" sldId="264"/>
            <ac:picMk id="3" creationId="{2BD34728-EF9C-4F05-A9DB-5E372DA93795}"/>
          </ac:picMkLst>
        </pc:picChg>
        <pc:picChg chg="add del mod">
          <ac:chgData name="Sylwia Sekula-Neuner" userId="eb3cf9ea-7e1a-4747-b59f-da3eecfb8632" providerId="ADAL" clId="{EF4349A9-12E4-4EE8-A85B-53BDE31BA378}" dt="2024-06-18T11:59:30.113" v="145" actId="478"/>
          <ac:picMkLst>
            <pc:docMk/>
            <pc:sldMk cId="0" sldId="264"/>
            <ac:picMk id="4" creationId="{EA0FAB20-EF6D-4FD5-AF95-08DEB61ADB0E}"/>
          </ac:picMkLst>
        </pc:picChg>
        <pc:picChg chg="add mod">
          <ac:chgData name="Sylwia Sekula-Neuner" userId="eb3cf9ea-7e1a-4747-b59f-da3eecfb8632" providerId="ADAL" clId="{EF4349A9-12E4-4EE8-A85B-53BDE31BA378}" dt="2024-06-18T11:59:48.581" v="150" actId="1076"/>
          <ac:picMkLst>
            <pc:docMk/>
            <pc:sldMk cId="0" sldId="264"/>
            <ac:picMk id="5" creationId="{045D9461-4294-4418-B637-ABE73BB33ABD}"/>
          </ac:picMkLst>
        </pc:picChg>
        <pc:cxnChg chg="del mod topLvl">
          <ac:chgData name="Sylwia Sekula-Neuner" userId="eb3cf9ea-7e1a-4747-b59f-da3eecfb8632" providerId="ADAL" clId="{EF4349A9-12E4-4EE8-A85B-53BDE31BA378}" dt="2024-06-18T11:56:57.408" v="84" actId="478"/>
          <ac:cxnSpMkLst>
            <pc:docMk/>
            <pc:sldMk cId="0" sldId="264"/>
            <ac:cxnSpMk id="29" creationId="{FF1C6FD4-A679-4952-BE66-4AD2842CC1B9}"/>
          </ac:cxnSpMkLst>
        </pc:cxnChg>
        <pc:cxnChg chg="del mod topLvl">
          <ac:chgData name="Sylwia Sekula-Neuner" userId="eb3cf9ea-7e1a-4747-b59f-da3eecfb8632" providerId="ADAL" clId="{EF4349A9-12E4-4EE8-A85B-53BDE31BA378}" dt="2024-06-18T11:57:00.528" v="85" actId="478"/>
          <ac:cxnSpMkLst>
            <pc:docMk/>
            <pc:sldMk cId="0" sldId="264"/>
            <ac:cxnSpMk id="34" creationId="{71F3BA3C-FB6E-4162-9C11-4C97FC0D26A0}"/>
          </ac:cxnSpMkLst>
        </pc:cxnChg>
        <pc:cxnChg chg="del mod topLvl">
          <ac:chgData name="Sylwia Sekula-Neuner" userId="eb3cf9ea-7e1a-4747-b59f-da3eecfb8632" providerId="ADAL" clId="{EF4349A9-12E4-4EE8-A85B-53BDE31BA378}" dt="2024-06-18T11:57:02.802" v="86" actId="478"/>
          <ac:cxnSpMkLst>
            <pc:docMk/>
            <pc:sldMk cId="0" sldId="264"/>
            <ac:cxnSpMk id="39" creationId="{E1F47F04-4AB9-4ACA-A797-8587EC6F1941}"/>
          </ac:cxnSpMkLst>
        </pc:cxnChg>
      </pc:sldChg>
      <pc:sldChg chg="add">
        <pc:chgData name="Sylwia Sekula-Neuner" userId="eb3cf9ea-7e1a-4747-b59f-da3eecfb8632" providerId="ADAL" clId="{EF4349A9-12E4-4EE8-A85B-53BDE31BA378}" dt="2024-06-18T11:52:49.404" v="51"/>
        <pc:sldMkLst>
          <pc:docMk/>
          <pc:sldMk cId="0" sldId="265"/>
        </pc:sldMkLst>
      </pc:sldChg>
      <pc:sldChg chg="del">
        <pc:chgData name="Sylwia Sekula-Neuner" userId="eb3cf9ea-7e1a-4747-b59f-da3eecfb8632" providerId="ADAL" clId="{EF4349A9-12E4-4EE8-A85B-53BDE31BA378}" dt="2024-06-18T11:52:19.807" v="50" actId="47"/>
        <pc:sldMkLst>
          <pc:docMk/>
          <pc:sldMk cId="0" sldId="274"/>
        </pc:sldMkLst>
      </pc:sldChg>
      <pc:sldChg chg="del">
        <pc:chgData name="Sylwia Sekula-Neuner" userId="eb3cf9ea-7e1a-4747-b59f-da3eecfb8632" providerId="ADAL" clId="{EF4349A9-12E4-4EE8-A85B-53BDE31BA378}" dt="2024-06-18T11:52:51.906" v="52" actId="47"/>
        <pc:sldMkLst>
          <pc:docMk/>
          <pc:sldMk cId="0" sldId="276"/>
        </pc:sldMkLst>
      </pc:sldChg>
      <pc:sldChg chg="del">
        <pc:chgData name="Sylwia Sekula-Neuner" userId="eb3cf9ea-7e1a-4747-b59f-da3eecfb8632" providerId="ADAL" clId="{EF4349A9-12E4-4EE8-A85B-53BDE31BA378}" dt="2024-06-18T11:48:38.710" v="0" actId="47"/>
        <pc:sldMkLst>
          <pc:docMk/>
          <pc:sldMk cId="799247734" sldId="279"/>
        </pc:sldMkLst>
      </pc:sldChg>
      <pc:sldChg chg="del">
        <pc:chgData name="Sylwia Sekula-Neuner" userId="eb3cf9ea-7e1a-4747-b59f-da3eecfb8632" providerId="ADAL" clId="{EF4349A9-12E4-4EE8-A85B-53BDE31BA378}" dt="2024-06-18T11:58:18.527" v="106" actId="47"/>
        <pc:sldMkLst>
          <pc:docMk/>
          <pc:sldMk cId="4170029655" sldId="292"/>
        </pc:sldMkLst>
      </pc:sldChg>
      <pc:sldChg chg="del">
        <pc:chgData name="Sylwia Sekula-Neuner" userId="eb3cf9ea-7e1a-4747-b59f-da3eecfb8632" providerId="ADAL" clId="{EF4349A9-12E4-4EE8-A85B-53BDE31BA378}" dt="2024-06-18T11:51:58.640" v="48" actId="47"/>
        <pc:sldMkLst>
          <pc:docMk/>
          <pc:sldMk cId="800226555" sldId="293"/>
        </pc:sldMkLst>
      </pc:sldChg>
      <pc:sldChg chg="del">
        <pc:chgData name="Sylwia Sekula-Neuner" userId="eb3cf9ea-7e1a-4747-b59f-da3eecfb8632" providerId="ADAL" clId="{EF4349A9-12E4-4EE8-A85B-53BDE31BA378}" dt="2024-06-18T11:54:00.444" v="56" actId="47"/>
        <pc:sldMkLst>
          <pc:docMk/>
          <pc:sldMk cId="862789986" sldId="301"/>
        </pc:sldMkLst>
      </pc:sldChg>
      <pc:sldChg chg="addSp delSp modSp del mod">
        <pc:chgData name="Sylwia Sekula-Neuner" userId="eb3cf9ea-7e1a-4747-b59f-da3eecfb8632" providerId="ADAL" clId="{EF4349A9-12E4-4EE8-A85B-53BDE31BA378}" dt="2024-06-18T11:51:40.264" v="44" actId="47"/>
        <pc:sldMkLst>
          <pc:docMk/>
          <pc:sldMk cId="3760595021" sldId="308"/>
        </pc:sldMkLst>
        <pc:picChg chg="del">
          <ac:chgData name="Sylwia Sekula-Neuner" userId="eb3cf9ea-7e1a-4747-b59f-da3eecfb8632" providerId="ADAL" clId="{EF4349A9-12E4-4EE8-A85B-53BDE31BA378}" dt="2024-06-18T11:48:49.752" v="1" actId="478"/>
          <ac:picMkLst>
            <pc:docMk/>
            <pc:sldMk cId="3760595021" sldId="308"/>
            <ac:picMk id="3" creationId="{36B75551-66D3-42D2-88AF-99F6FA2414D5}"/>
          </ac:picMkLst>
        </pc:picChg>
        <pc:picChg chg="add mod">
          <ac:chgData name="Sylwia Sekula-Neuner" userId="eb3cf9ea-7e1a-4747-b59f-da3eecfb8632" providerId="ADAL" clId="{EF4349A9-12E4-4EE8-A85B-53BDE31BA378}" dt="2024-06-18T11:48:55.082" v="4" actId="1076"/>
          <ac:picMkLst>
            <pc:docMk/>
            <pc:sldMk cId="3760595021" sldId="308"/>
            <ac:picMk id="8" creationId="{F9C1E23B-883C-4859-9E46-ECC937EBE79E}"/>
          </ac:picMkLst>
        </pc:picChg>
      </pc:sldChg>
      <pc:sldChg chg="del">
        <pc:chgData name="Sylwia Sekula-Neuner" userId="eb3cf9ea-7e1a-4747-b59f-da3eecfb8632" providerId="ADAL" clId="{EF4349A9-12E4-4EE8-A85B-53BDE31BA378}" dt="2024-06-18T11:51:57.139" v="47" actId="47"/>
        <pc:sldMkLst>
          <pc:docMk/>
          <pc:sldMk cId="817990182" sldId="310"/>
        </pc:sldMkLst>
      </pc:sldChg>
      <pc:sldChg chg="modSp mod">
        <pc:chgData name="Sylwia Sekula-Neuner" userId="eb3cf9ea-7e1a-4747-b59f-da3eecfb8632" providerId="ADAL" clId="{EF4349A9-12E4-4EE8-A85B-53BDE31BA378}" dt="2024-06-25T13:39:14.787" v="271" actId="6549"/>
        <pc:sldMkLst>
          <pc:docMk/>
          <pc:sldMk cId="2821711313" sldId="313"/>
        </pc:sldMkLst>
        <pc:spChg chg="mod">
          <ac:chgData name="Sylwia Sekula-Neuner" userId="eb3cf9ea-7e1a-4747-b59f-da3eecfb8632" providerId="ADAL" clId="{EF4349A9-12E4-4EE8-A85B-53BDE31BA378}" dt="2024-06-25T13:38:57.220" v="268" actId="207"/>
          <ac:spMkLst>
            <pc:docMk/>
            <pc:sldMk cId="2821711313" sldId="313"/>
            <ac:spMk id="31" creationId="{B3BA55FB-B7E5-49DA-8D58-41E883F0BB26}"/>
          </ac:spMkLst>
        </pc:spChg>
        <pc:spChg chg="mod">
          <ac:chgData name="Sylwia Sekula-Neuner" userId="eb3cf9ea-7e1a-4747-b59f-da3eecfb8632" providerId="ADAL" clId="{EF4349A9-12E4-4EE8-A85B-53BDE31BA378}" dt="2024-06-25T13:39:04.704" v="269" actId="207"/>
          <ac:spMkLst>
            <pc:docMk/>
            <pc:sldMk cId="2821711313" sldId="313"/>
            <ac:spMk id="32" creationId="{393A18AA-1EB0-47CC-9095-040C6FE38A0C}"/>
          </ac:spMkLst>
        </pc:spChg>
        <pc:spChg chg="mod">
          <ac:chgData name="Sylwia Sekula-Neuner" userId="eb3cf9ea-7e1a-4747-b59f-da3eecfb8632" providerId="ADAL" clId="{EF4349A9-12E4-4EE8-A85B-53BDE31BA378}" dt="2024-06-25T13:39:10.197" v="270" actId="207"/>
          <ac:spMkLst>
            <pc:docMk/>
            <pc:sldMk cId="2821711313" sldId="313"/>
            <ac:spMk id="33" creationId="{776D26C5-5561-4C69-9063-70C7AE832EB9}"/>
          </ac:spMkLst>
        </pc:spChg>
        <pc:spChg chg="mod">
          <ac:chgData name="Sylwia Sekula-Neuner" userId="eb3cf9ea-7e1a-4747-b59f-da3eecfb8632" providerId="ADAL" clId="{EF4349A9-12E4-4EE8-A85B-53BDE31BA378}" dt="2024-06-21T12:55:03.641" v="208" actId="1035"/>
          <ac:spMkLst>
            <pc:docMk/>
            <pc:sldMk cId="2821711313" sldId="313"/>
            <ac:spMk id="48" creationId="{02B91C69-2FF6-4318-A162-3D5846568C3F}"/>
          </ac:spMkLst>
        </pc:spChg>
        <pc:spChg chg="mod">
          <ac:chgData name="Sylwia Sekula-Neuner" userId="eb3cf9ea-7e1a-4747-b59f-da3eecfb8632" providerId="ADAL" clId="{EF4349A9-12E4-4EE8-A85B-53BDE31BA378}" dt="2024-06-25T13:38:38.425" v="266" actId="6549"/>
          <ac:spMkLst>
            <pc:docMk/>
            <pc:sldMk cId="2821711313" sldId="313"/>
            <ac:spMk id="49" creationId="{8AB1C2C8-2DAE-49E2-99E1-CCDD92F350E6}"/>
          </ac:spMkLst>
        </pc:spChg>
        <pc:spChg chg="mod">
          <ac:chgData name="Sylwia Sekula-Neuner" userId="eb3cf9ea-7e1a-4747-b59f-da3eecfb8632" providerId="ADAL" clId="{EF4349A9-12E4-4EE8-A85B-53BDE31BA378}" dt="2024-06-25T13:39:14.787" v="271" actId="6549"/>
          <ac:spMkLst>
            <pc:docMk/>
            <pc:sldMk cId="2821711313" sldId="313"/>
            <ac:spMk id="50" creationId="{9E624506-4D39-4FE5-861F-95241509345D}"/>
          </ac:spMkLst>
        </pc:spChg>
        <pc:spChg chg="mod">
          <ac:chgData name="Sylwia Sekula-Neuner" userId="eb3cf9ea-7e1a-4747-b59f-da3eecfb8632" providerId="ADAL" clId="{EF4349A9-12E4-4EE8-A85B-53BDE31BA378}" dt="2024-06-21T12:55:03.641" v="208" actId="1035"/>
          <ac:spMkLst>
            <pc:docMk/>
            <pc:sldMk cId="2821711313" sldId="313"/>
            <ac:spMk id="52" creationId="{630DFA32-C7CF-45D1-AD1E-B06887759F5F}"/>
          </ac:spMkLst>
        </pc:spChg>
        <pc:grpChg chg="mod">
          <ac:chgData name="Sylwia Sekula-Neuner" userId="eb3cf9ea-7e1a-4747-b59f-da3eecfb8632" providerId="ADAL" clId="{EF4349A9-12E4-4EE8-A85B-53BDE31BA378}" dt="2024-06-21T12:55:03.641" v="208" actId="1035"/>
          <ac:grpSpMkLst>
            <pc:docMk/>
            <pc:sldMk cId="2821711313" sldId="313"/>
            <ac:grpSpMk id="23" creationId="{E6B72235-4B05-4D4C-9A6F-19594513D5BB}"/>
          </ac:grpSpMkLst>
        </pc:grpChg>
        <pc:picChg chg="mod">
          <ac:chgData name="Sylwia Sekula-Neuner" userId="eb3cf9ea-7e1a-4747-b59f-da3eecfb8632" providerId="ADAL" clId="{EF4349A9-12E4-4EE8-A85B-53BDE31BA378}" dt="2024-06-21T12:55:03.641" v="208" actId="1035"/>
          <ac:picMkLst>
            <pc:docMk/>
            <pc:sldMk cId="2821711313" sldId="313"/>
            <ac:picMk id="47" creationId="{70A2D986-8115-4BF4-9D7B-8B9D1D159803}"/>
          </ac:picMkLst>
        </pc:picChg>
      </pc:sldChg>
      <pc:sldChg chg="del">
        <pc:chgData name="Sylwia Sekula-Neuner" userId="eb3cf9ea-7e1a-4747-b59f-da3eecfb8632" providerId="ADAL" clId="{EF4349A9-12E4-4EE8-A85B-53BDE31BA378}" dt="2024-06-21T12:54:50.505" v="183" actId="47"/>
        <pc:sldMkLst>
          <pc:docMk/>
          <pc:sldMk cId="31692919" sldId="316"/>
        </pc:sldMkLst>
      </pc:sldChg>
      <pc:sldChg chg="ord">
        <pc:chgData name="Sylwia Sekula-Neuner" userId="eb3cf9ea-7e1a-4747-b59f-da3eecfb8632" providerId="ADAL" clId="{EF4349A9-12E4-4EE8-A85B-53BDE31BA378}" dt="2024-06-21T12:44:58.970" v="157"/>
        <pc:sldMkLst>
          <pc:docMk/>
          <pc:sldMk cId="1928286501" sldId="317"/>
        </pc:sldMkLst>
      </pc:sldChg>
      <pc:sldChg chg="addSp delSp modSp add mod modTransition modAnim">
        <pc:chgData name="Sylwia Sekula-Neuner" userId="eb3cf9ea-7e1a-4747-b59f-da3eecfb8632" providerId="ADAL" clId="{EF4349A9-12E4-4EE8-A85B-53BDE31BA378}" dt="2024-06-18T11:51:35.145" v="43"/>
        <pc:sldMkLst>
          <pc:docMk/>
          <pc:sldMk cId="2770440709" sldId="318"/>
        </pc:sldMkLst>
        <pc:spChg chg="mod">
          <ac:chgData name="Sylwia Sekula-Neuner" userId="eb3cf9ea-7e1a-4747-b59f-da3eecfb8632" providerId="ADAL" clId="{EF4349A9-12E4-4EE8-A85B-53BDE31BA378}" dt="2024-06-18T11:50:10.146" v="17" actId="20577"/>
          <ac:spMkLst>
            <pc:docMk/>
            <pc:sldMk cId="2770440709" sldId="318"/>
            <ac:spMk id="10" creationId="{FEFCAFF7-A828-4AA9-9100-D16878B31EC5}"/>
          </ac:spMkLst>
        </pc:spChg>
        <pc:spChg chg="mod">
          <ac:chgData name="Sylwia Sekula-Neuner" userId="eb3cf9ea-7e1a-4747-b59f-da3eecfb8632" providerId="ADAL" clId="{EF4349A9-12E4-4EE8-A85B-53BDE31BA378}" dt="2024-06-18T11:51:10.082" v="41" actId="6549"/>
          <ac:spMkLst>
            <pc:docMk/>
            <pc:sldMk cId="2770440709" sldId="318"/>
            <ac:spMk id="11" creationId="{92777602-7AD2-4C5F-A7E6-6B368C72AF6D}"/>
          </ac:spMkLst>
        </pc:spChg>
        <pc:spChg chg="del">
          <ac:chgData name="Sylwia Sekula-Neuner" userId="eb3cf9ea-7e1a-4747-b59f-da3eecfb8632" providerId="ADAL" clId="{EF4349A9-12E4-4EE8-A85B-53BDE31BA378}" dt="2024-06-18T11:49:30.764" v="8" actId="478"/>
          <ac:spMkLst>
            <pc:docMk/>
            <pc:sldMk cId="2770440709" sldId="318"/>
            <ac:spMk id="12" creationId="{0F30BA7C-CE30-456A-9553-B9257F3336FD}"/>
          </ac:spMkLst>
        </pc:spChg>
        <pc:spChg chg="del">
          <ac:chgData name="Sylwia Sekula-Neuner" userId="eb3cf9ea-7e1a-4747-b59f-da3eecfb8632" providerId="ADAL" clId="{EF4349A9-12E4-4EE8-A85B-53BDE31BA378}" dt="2024-06-18T11:49:30.764" v="8" actId="478"/>
          <ac:spMkLst>
            <pc:docMk/>
            <pc:sldMk cId="2770440709" sldId="318"/>
            <ac:spMk id="13" creationId="{4C0193A1-B836-4E38-BB42-2E1957FA47D7}"/>
          </ac:spMkLst>
        </pc:spChg>
        <pc:spChg chg="del">
          <ac:chgData name="Sylwia Sekula-Neuner" userId="eb3cf9ea-7e1a-4747-b59f-da3eecfb8632" providerId="ADAL" clId="{EF4349A9-12E4-4EE8-A85B-53BDE31BA378}" dt="2024-06-18T11:49:30.764" v="8" actId="478"/>
          <ac:spMkLst>
            <pc:docMk/>
            <pc:sldMk cId="2770440709" sldId="318"/>
            <ac:spMk id="14" creationId="{8AE63301-B029-423F-B431-1BCC71607F0C}"/>
          </ac:spMkLst>
        </pc:spChg>
        <pc:spChg chg="add del">
          <ac:chgData name="Sylwia Sekula-Neuner" userId="eb3cf9ea-7e1a-4747-b59f-da3eecfb8632" providerId="ADAL" clId="{EF4349A9-12E4-4EE8-A85B-53BDE31BA378}" dt="2024-06-18T11:50:30.674" v="19" actId="22"/>
          <ac:spMkLst>
            <pc:docMk/>
            <pc:sldMk cId="2770440709" sldId="318"/>
            <ac:spMk id="15" creationId="{EA659D95-22D5-4A02-9F6D-0AAC7A06201F}"/>
          </ac:spMkLst>
        </pc:spChg>
      </pc:sldChg>
      <pc:sldChg chg="new del">
        <pc:chgData name="Sylwia Sekula-Neuner" userId="eb3cf9ea-7e1a-4747-b59f-da3eecfb8632" providerId="ADAL" clId="{EF4349A9-12E4-4EE8-A85B-53BDE31BA378}" dt="2024-06-21T12:45:02.749" v="159" actId="680"/>
        <pc:sldMkLst>
          <pc:docMk/>
          <pc:sldMk cId="3905923142" sldId="319"/>
        </pc:sldMkLst>
      </pc:sldChg>
      <pc:sldChg chg="addSp delSp modSp mod modTransition">
        <pc:chgData name="Sylwia Sekula-Neuner" userId="eb3cf9ea-7e1a-4747-b59f-da3eecfb8632" providerId="ADAL" clId="{EF4349A9-12E4-4EE8-A85B-53BDE31BA378}" dt="2024-06-21T12:54:27.738" v="182"/>
        <pc:sldMkLst>
          <pc:docMk/>
          <pc:sldMk cId="0" sldId="925"/>
        </pc:sldMkLst>
        <pc:spChg chg="mod">
          <ac:chgData name="Sylwia Sekula-Neuner" userId="eb3cf9ea-7e1a-4747-b59f-da3eecfb8632" providerId="ADAL" clId="{EF4349A9-12E4-4EE8-A85B-53BDE31BA378}" dt="2024-06-21T12:45:43.745" v="180" actId="1038"/>
          <ac:spMkLst>
            <pc:docMk/>
            <pc:sldMk cId="0" sldId="925"/>
            <ac:spMk id="2" creationId="{00000000-0000-0000-0000-000000000000}"/>
          </ac:spMkLst>
        </pc:spChg>
        <pc:spChg chg="mod">
          <ac:chgData name="Sylwia Sekula-Neuner" userId="eb3cf9ea-7e1a-4747-b59f-da3eecfb8632" providerId="ADAL" clId="{EF4349A9-12E4-4EE8-A85B-53BDE31BA378}" dt="2024-06-21T12:53:02.485" v="181" actId="948"/>
          <ac:spMkLst>
            <pc:docMk/>
            <pc:sldMk cId="0" sldId="925"/>
            <ac:spMk id="5" creationId="{00000000-0000-0000-0000-000000000000}"/>
          </ac:spMkLst>
        </pc:spChg>
        <pc:picChg chg="del">
          <ac:chgData name="Sylwia Sekula-Neuner" userId="eb3cf9ea-7e1a-4747-b59f-da3eecfb8632" providerId="ADAL" clId="{EF4349A9-12E4-4EE8-A85B-53BDE31BA378}" dt="2024-06-21T12:45:31.293" v="160" actId="478"/>
          <ac:picMkLst>
            <pc:docMk/>
            <pc:sldMk cId="0" sldId="925"/>
            <ac:picMk id="10" creationId="{FB49C3A6-FF25-4522-B66B-A89A8A6EA542}"/>
          </ac:picMkLst>
        </pc:picChg>
        <pc:picChg chg="add mod">
          <ac:chgData name="Sylwia Sekula-Neuner" userId="eb3cf9ea-7e1a-4747-b59f-da3eecfb8632" providerId="ADAL" clId="{EF4349A9-12E4-4EE8-A85B-53BDE31BA378}" dt="2024-06-21T12:45:39.409" v="163" actId="1076"/>
          <ac:picMkLst>
            <pc:docMk/>
            <pc:sldMk cId="0" sldId="925"/>
            <ac:picMk id="11" creationId="{FEAE4256-1BB3-4F62-9909-8AAD05E1E676}"/>
          </ac:picMkLst>
        </pc:picChg>
      </pc:sldChg>
      <pc:sldMasterChg chg="delSldLayout">
        <pc:chgData name="Sylwia Sekula-Neuner" userId="eb3cf9ea-7e1a-4747-b59f-da3eecfb8632" providerId="ADAL" clId="{EF4349A9-12E4-4EE8-A85B-53BDE31BA378}" dt="2024-06-18T11:58:18.527" v="106" actId="47"/>
        <pc:sldMasterMkLst>
          <pc:docMk/>
          <pc:sldMasterMk cId="0" sldId="2147483680"/>
        </pc:sldMasterMkLst>
        <pc:sldLayoutChg chg="del">
          <pc:chgData name="Sylwia Sekula-Neuner" userId="eb3cf9ea-7e1a-4747-b59f-da3eecfb8632" providerId="ADAL" clId="{EF4349A9-12E4-4EE8-A85B-53BDE31BA378}" dt="2024-06-18T11:51:40.264" v="44" actId="47"/>
          <pc:sldLayoutMkLst>
            <pc:docMk/>
            <pc:sldMasterMk cId="0" sldId="2147483680"/>
            <pc:sldLayoutMk cId="0" sldId="2147483649"/>
          </pc:sldLayoutMkLst>
        </pc:sldLayoutChg>
        <pc:sldLayoutChg chg="del">
          <pc:chgData name="Sylwia Sekula-Neuner" userId="eb3cf9ea-7e1a-4747-b59f-da3eecfb8632" providerId="ADAL" clId="{EF4349A9-12E4-4EE8-A85B-53BDE31BA378}" dt="2024-06-18T11:58:18.527" v="106" actId="47"/>
          <pc:sldLayoutMkLst>
            <pc:docMk/>
            <pc:sldMasterMk cId="0" sldId="2147483680"/>
            <pc:sldLayoutMk cId="0" sldId="2147483650"/>
          </pc:sldLayoutMkLst>
        </pc:sldLayoutChg>
        <pc:sldLayoutChg chg="del">
          <pc:chgData name="Sylwia Sekula-Neuner" userId="eb3cf9ea-7e1a-4747-b59f-da3eecfb8632" providerId="ADAL" clId="{EF4349A9-12E4-4EE8-A85B-53BDE31BA378}" dt="2024-06-18T11:52:51.906" v="52" actId="47"/>
          <pc:sldLayoutMkLst>
            <pc:docMk/>
            <pc:sldMasterMk cId="0" sldId="2147483680"/>
            <pc:sldLayoutMk cId="0" sldId="2147483664"/>
          </pc:sldLayoutMkLst>
        </pc:sldLayoutChg>
        <pc:sldLayoutChg chg="del">
          <pc:chgData name="Sylwia Sekula-Neuner" userId="eb3cf9ea-7e1a-4747-b59f-da3eecfb8632" providerId="ADAL" clId="{EF4349A9-12E4-4EE8-A85B-53BDE31BA378}" dt="2024-06-18T11:54:00.444" v="56" actId="47"/>
          <pc:sldLayoutMkLst>
            <pc:docMk/>
            <pc:sldMasterMk cId="0" sldId="2147483680"/>
            <pc:sldLayoutMk cId="0" sldId="214748367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" name="Google Shape;393;g11b84f36c58_1_8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4" name="Google Shape;394;g11b84f36c58_1_860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3963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freepik.com/" TargetMode="Externa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4845495" y="2489492"/>
            <a:ext cx="29736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301075" y="2889700"/>
            <a:ext cx="2931300" cy="74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4845500" y="2881750"/>
            <a:ext cx="2973600" cy="762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331069" y="3012575"/>
            <a:ext cx="2871300" cy="5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endParaRPr sz="18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331069" y="2489492"/>
            <a:ext cx="28713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366700" y="730650"/>
            <a:ext cx="8208688" cy="1841088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861334" y="3359918"/>
            <a:ext cx="596919" cy="896417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26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2680650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2566350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6332025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708975" y="2741125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4446075" y="2742409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6446325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8232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45603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SECTION_TITLE_AND_DESCRIPTION_1_1_3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923550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790650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923550" y="2668141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790650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6029625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6029625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6029625" y="266814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6029625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270750" y="-561264"/>
            <a:ext cx="8627325" cy="2190739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_ONLY_2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193224" y="250521"/>
            <a:ext cx="8719077" cy="4083144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2522250" y="1086450"/>
            <a:ext cx="4099500" cy="285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604125" y="1056775"/>
            <a:ext cx="8370150" cy="3635150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ONLY_1_1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366000" y="253149"/>
            <a:ext cx="8563397" cy="4105938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1_1_1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290300" y="219124"/>
            <a:ext cx="8687224" cy="4649838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_1_1_1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2676900" y="745875"/>
            <a:ext cx="3790200" cy="716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2983301" y="1546125"/>
            <a:ext cx="3177300" cy="109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2905650" y="3292575"/>
            <a:ext cx="33327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2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6648388" y="2571750"/>
            <a:ext cx="1189800" cy="1189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24"/>
          <p:cNvSpPr/>
          <p:nvPr/>
        </p:nvSpPr>
        <p:spPr>
          <a:xfrm>
            <a:off x="2206275" y="3477100"/>
            <a:ext cx="572100" cy="5721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24"/>
          <p:cNvSpPr/>
          <p:nvPr/>
        </p:nvSpPr>
        <p:spPr>
          <a:xfrm>
            <a:off x="8301150" y="4048150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p24"/>
          <p:cNvSpPr/>
          <p:nvPr/>
        </p:nvSpPr>
        <p:spPr>
          <a:xfrm>
            <a:off x="6435375" y="272899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8" name="Google Shape;288;p24"/>
          <p:cNvSpPr/>
          <p:nvPr/>
        </p:nvSpPr>
        <p:spPr>
          <a:xfrm>
            <a:off x="886950" y="1064474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9" name="Google Shape;289;p24"/>
          <p:cNvSpPr/>
          <p:nvPr/>
        </p:nvSpPr>
        <p:spPr>
          <a:xfrm>
            <a:off x="1409475" y="2378025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0" name="Google Shape;290;p24"/>
          <p:cNvSpPr/>
          <p:nvPr/>
        </p:nvSpPr>
        <p:spPr>
          <a:xfrm>
            <a:off x="8168788" y="1677663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24"/>
          <p:cNvSpPr/>
          <p:nvPr/>
        </p:nvSpPr>
        <p:spPr>
          <a:xfrm>
            <a:off x="632520" y="1546131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TITLE_ONLY_1_2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TITLE_ONLY_1_1_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366000" y="253149"/>
            <a:ext cx="8563397" cy="4105938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CUSTOM_2_1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270750" y="-561264"/>
            <a:ext cx="8627325" cy="4964025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388100" y="5263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101156" y="253149"/>
            <a:ext cx="7611770" cy="294917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4746823" y="3303353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270750" y="740109"/>
            <a:ext cx="8627325" cy="4089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OBJECT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8229600" cy="6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3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_1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82375" y="80700"/>
            <a:ext cx="8980800" cy="49821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62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_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9144000" cy="12306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152400" y="-76200"/>
            <a:ext cx="8183700" cy="776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32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35650" y="671875"/>
            <a:ext cx="8183700" cy="55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3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065212"/>
            <a:ext cx="3886200" cy="7350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943100"/>
            <a:ext cx="3200400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143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600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9336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973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157" y="2203450"/>
            <a:ext cx="3886200" cy="681038"/>
          </a:xfr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57" y="1453357"/>
            <a:ext cx="3886200" cy="750094"/>
          </a:xfrm>
        </p:spPr>
        <p:txBody>
          <a:bodyPr anchor="b"/>
          <a:lstStyle>
            <a:lvl1pPr marL="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1pPr>
            <a:lvl2pPr marL="2286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662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800100"/>
            <a:ext cx="2019300" cy="2262982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324100" y="800100"/>
            <a:ext cx="2019300" cy="2262982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566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767556"/>
            <a:ext cx="2020094" cy="319881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087438"/>
            <a:ext cx="2020094" cy="1975644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322513" y="767556"/>
            <a:ext cx="2020888" cy="319881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322513" y="1087438"/>
            <a:ext cx="2020888" cy="1975644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6173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3402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768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064175" y="3620975"/>
            <a:ext cx="35079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6525"/>
            <a:ext cx="1504157" cy="581025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7525" y="136525"/>
            <a:ext cx="2555875" cy="292655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" y="717550"/>
            <a:ext cx="1504157" cy="2345532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787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144" y="2400300"/>
            <a:ext cx="2743200" cy="283369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96144" y="306388"/>
            <a:ext cx="2743200" cy="2057400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 sz="1400"/>
            </a:lvl2pPr>
            <a:lvl3pPr marL="457200" indent="0">
              <a:buNone/>
              <a:defRPr sz="12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  <a:lvl6pPr marL="1143000" indent="0">
              <a:buNone/>
              <a:defRPr sz="1000"/>
            </a:lvl6pPr>
            <a:lvl7pPr marL="1371600" indent="0">
              <a:buNone/>
              <a:defRPr sz="1000"/>
            </a:lvl7pPr>
            <a:lvl8pPr marL="1600200" indent="0">
              <a:buNone/>
              <a:defRPr sz="1000"/>
            </a:lvl8pPr>
            <a:lvl9pPr marL="1828800" indent="0">
              <a:buNone/>
              <a:defRPr sz="1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144" y="2683669"/>
            <a:ext cx="2743200" cy="402431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1095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5842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314700" y="137319"/>
            <a:ext cx="1028700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137319"/>
            <a:ext cx="3009900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5610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27475" y="1408075"/>
            <a:ext cx="4366200" cy="174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5200"/>
              <a:buFont typeface="Titillium Web"/>
              <a:buNone/>
              <a:defRPr sz="4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21025" y="3114400"/>
            <a:ext cx="4172700" cy="450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grpSp>
        <p:nvGrpSpPr>
          <p:cNvPr id="12" name="Google Shape;12;p2"/>
          <p:cNvGrpSpPr/>
          <p:nvPr/>
        </p:nvGrpSpPr>
        <p:grpSpPr>
          <a:xfrm>
            <a:off x="231225" y="229757"/>
            <a:ext cx="8724000" cy="4217169"/>
            <a:chOff x="231225" y="229756"/>
            <a:chExt cx="8724000" cy="4217169"/>
          </a:xfrm>
        </p:grpSpPr>
        <p:sp>
          <p:nvSpPr>
            <p:cNvPr id="13" name="Google Shape;13;p2"/>
            <p:cNvSpPr/>
            <p:nvPr/>
          </p:nvSpPr>
          <p:spPr>
            <a:xfrm>
              <a:off x="231225" y="3733500"/>
              <a:ext cx="389700" cy="389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60AD7B8C-8442-2499-8B83-F36252BDCBBA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250" y="4421125"/>
            <a:ext cx="1374877" cy="579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ED197390-5ACA-EFA3-85EA-578483AB8DDE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60907" y="4426101"/>
            <a:ext cx="3077995" cy="519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3130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19" name="Google Shape;19;p3"/>
          <p:cNvGrpSpPr/>
          <p:nvPr/>
        </p:nvGrpSpPr>
        <p:grpSpPr>
          <a:xfrm flipH="1">
            <a:off x="1076331" y="3499181"/>
            <a:ext cx="6991339" cy="1329929"/>
            <a:chOff x="404800" y="1010238"/>
            <a:chExt cx="8208688" cy="1561500"/>
          </a:xfrm>
        </p:grpSpPr>
        <p:sp>
          <p:nvSpPr>
            <p:cNvPr id="20" name="Google Shape;20;p3"/>
            <p:cNvSpPr/>
            <p:nvPr/>
          </p:nvSpPr>
          <p:spPr>
            <a:xfrm>
              <a:off x="2560391" y="1010238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1" name="Google Shape;21;p3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2" name="Google Shape;22;p3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24" name="Google Shape;24;p3"/>
          <p:cNvSpPr/>
          <p:nvPr/>
        </p:nvSpPr>
        <p:spPr>
          <a:xfrm flipH="1">
            <a:off x="3408602" y="765505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25" name="Google Shape;25;p3"/>
          <p:cNvGrpSpPr/>
          <p:nvPr/>
        </p:nvGrpSpPr>
        <p:grpSpPr>
          <a:xfrm>
            <a:off x="270751" y="253150"/>
            <a:ext cx="8627325" cy="4089001"/>
            <a:chOff x="270750" y="253149"/>
            <a:chExt cx="8627325" cy="4089001"/>
          </a:xfrm>
        </p:grpSpPr>
        <p:sp>
          <p:nvSpPr>
            <p:cNvPr id="26" name="Google Shape;26;p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" name="Google Shape;27;p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8" name="Google Shape;28;p3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" name="Google Shape;29;p3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" name="Google Shape;30;p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31" name="Google Shape;31;p3"/>
          <p:cNvSpPr txBox="1">
            <a:spLocks noGrp="1"/>
          </p:cNvSpPr>
          <p:nvPr>
            <p:ph type="title"/>
          </p:nvPr>
        </p:nvSpPr>
        <p:spPr>
          <a:xfrm>
            <a:off x="1887000" y="1732200"/>
            <a:ext cx="5370000" cy="1679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01A63993-10BC-91EF-7BAF-7073D0C3DC1F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250" y="4421125"/>
            <a:ext cx="1374877" cy="579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ABA2C122-10B5-08DA-2547-9D0C1955C5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60907" y="4426101"/>
            <a:ext cx="3077995" cy="519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921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body" idx="1"/>
          </p:nvPr>
        </p:nvSpPr>
        <p:spPr>
          <a:xfrm>
            <a:off x="713225" y="1036775"/>
            <a:ext cx="7717500" cy="3341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20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378" lvl="1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2pPr>
            <a:lvl3pPr marL="1371566" lvl="2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3pPr>
            <a:lvl4pPr marL="1828754" lvl="3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4pPr>
            <a:lvl5pPr marL="2285943" lvl="4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5pPr>
            <a:lvl6pPr marL="2743132" lvl="5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6pPr>
            <a:lvl7pPr marL="3200320" lvl="6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7pPr>
            <a:lvl8pPr marL="3657509" lvl="7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8pPr>
            <a:lvl9pPr marL="4114697" lvl="8" indent="-30479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grpSp>
        <p:nvGrpSpPr>
          <p:cNvPr id="36" name="Google Shape;36;p4"/>
          <p:cNvGrpSpPr/>
          <p:nvPr/>
        </p:nvGrpSpPr>
        <p:grpSpPr>
          <a:xfrm flipH="1">
            <a:off x="165976" y="229757"/>
            <a:ext cx="8684475" cy="4217169"/>
            <a:chOff x="270750" y="229756"/>
            <a:chExt cx="8684475" cy="4217169"/>
          </a:xfrm>
        </p:grpSpPr>
        <p:sp>
          <p:nvSpPr>
            <p:cNvPr id="37" name="Google Shape;37;p4"/>
            <p:cNvSpPr/>
            <p:nvPr/>
          </p:nvSpPr>
          <p:spPr>
            <a:xfrm>
              <a:off x="270750" y="34005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9" name="Google Shape;39;p4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0" name="Google Shape;40;p4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35055250-5DC8-0767-EA63-40D89C01BB9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250" y="4421125"/>
            <a:ext cx="1374877" cy="579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86475A4C-11B4-4AC0-2D86-99237CB0FD2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60907" y="4426101"/>
            <a:ext cx="3077995" cy="519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837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4845495" y="2489492"/>
            <a:ext cx="29736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301075" y="2889700"/>
            <a:ext cx="2931300" cy="74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3174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378" lvl="1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566" lvl="2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754" lvl="3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5943" lvl="4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132" lvl="5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320" lvl="6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509" lvl="7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697" lvl="8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4845500" y="2881750"/>
            <a:ext cx="2973600" cy="762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3174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378" lvl="1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566" lvl="2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754" lvl="3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5943" lvl="4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132" lvl="5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320" lvl="6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509" lvl="7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697" lvl="8" indent="-31749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331069" y="3012575"/>
            <a:ext cx="2871300" cy="5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endParaRPr sz="18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331069" y="2489492"/>
            <a:ext cx="28713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366701" y="730650"/>
            <a:ext cx="8208688" cy="1841088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861335" y="3359919"/>
            <a:ext cx="596919" cy="896417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0858956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388100" y="5263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101157" y="253150"/>
            <a:ext cx="7611770" cy="294917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4746823" y="3303353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270751" y="740110"/>
            <a:ext cx="8627325" cy="4089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39842639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270751" y="305957"/>
            <a:ext cx="7172425" cy="3514294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064175" y="3620975"/>
            <a:ext cx="35079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2285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5332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2616450" y="1487125"/>
            <a:ext cx="3911100" cy="14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0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406200" y="3153475"/>
            <a:ext cx="5502000" cy="169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2616450" y="1487125"/>
            <a:ext cx="3911100" cy="14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0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406200" y="3153475"/>
            <a:ext cx="5502000" cy="169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342892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378" lvl="1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566" lvl="2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754" lvl="3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5943" lvl="4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132" lvl="5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320" lvl="6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509" lvl="7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697" lvl="8" indent="-317492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270751" y="253150"/>
            <a:ext cx="8627325" cy="4089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37044175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9159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4745175" y="2791150"/>
            <a:ext cx="3605100" cy="46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4745175" y="1355675"/>
            <a:ext cx="3605100" cy="133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270751" y="253149"/>
            <a:ext cx="8703525" cy="4438776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586140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188415" y="2624233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6101380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3643771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970625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3425971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5883580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270751" y="253150"/>
            <a:ext cx="8627325" cy="4216100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1885613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270751" y="253150"/>
            <a:ext cx="8627325" cy="4089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264169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346969" y="3066379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5950358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3648664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346969" y="162805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5950358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3648664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3565864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5867558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262282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3563976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5865671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401798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4668775" y="1294650"/>
            <a:ext cx="3609600" cy="141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4948375" y="2831250"/>
            <a:ext cx="3330000" cy="71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270751" y="253149"/>
            <a:ext cx="8627325" cy="4036194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1145871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2680650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2566350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6332025" y="1676917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708975" y="2741125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4446075" y="2742409"/>
            <a:ext cx="2103000" cy="4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17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6446325" y="2075675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8232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4560375" y="3136256"/>
            <a:ext cx="1874400" cy="47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270751" y="305957"/>
            <a:ext cx="7172425" cy="3514294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8257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1_Title and two columns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96" name="Google Shape;196;p18"/>
          <p:cNvSpPr txBox="1">
            <a:spLocks noGrp="1"/>
          </p:cNvSpPr>
          <p:nvPr>
            <p:ph type="subTitle" idx="1"/>
          </p:nvPr>
        </p:nvSpPr>
        <p:spPr>
          <a:xfrm>
            <a:off x="4795550" y="1203875"/>
            <a:ext cx="3246600" cy="5085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7" name="Google Shape;197;p18"/>
          <p:cNvSpPr txBox="1">
            <a:spLocks noGrp="1"/>
          </p:cNvSpPr>
          <p:nvPr>
            <p:ph type="subTitle" idx="2"/>
          </p:nvPr>
        </p:nvSpPr>
        <p:spPr>
          <a:xfrm>
            <a:off x="1115300" y="1208688"/>
            <a:ext cx="3246600" cy="5085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8" name="Google Shape;198;p18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99" name="Google Shape;199;p18"/>
          <p:cNvSpPr txBox="1">
            <a:spLocks noGrp="1"/>
          </p:cNvSpPr>
          <p:nvPr>
            <p:ph type="subTitle" idx="3"/>
          </p:nvPr>
        </p:nvSpPr>
        <p:spPr>
          <a:xfrm>
            <a:off x="4795550" y="1855683"/>
            <a:ext cx="3246600" cy="2033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00" name="Google Shape;200;p18"/>
          <p:cNvSpPr txBox="1">
            <a:spLocks noGrp="1"/>
          </p:cNvSpPr>
          <p:nvPr>
            <p:ph type="subTitle" idx="4"/>
          </p:nvPr>
        </p:nvSpPr>
        <p:spPr>
          <a:xfrm>
            <a:off x="1115300" y="1855683"/>
            <a:ext cx="3246600" cy="2033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●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○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Font typeface="Titillium Web"/>
              <a:buChar char="■"/>
              <a:defRPr sz="15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01" name="Google Shape;201;p18"/>
          <p:cNvGrpSpPr/>
          <p:nvPr/>
        </p:nvGrpSpPr>
        <p:grpSpPr>
          <a:xfrm>
            <a:off x="270751" y="-561263"/>
            <a:ext cx="8627325" cy="4964025"/>
            <a:chOff x="270750" y="-561264"/>
            <a:chExt cx="8627325" cy="4964025"/>
          </a:xfrm>
        </p:grpSpPr>
        <p:grpSp>
          <p:nvGrpSpPr>
            <p:cNvPr id="202" name="Google Shape;202;p1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203" name="Google Shape;203;p1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4" name="Google Shape;204;p1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5" name="Google Shape;205;p1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6" name="Google Shape;206;p1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7" name="Google Shape;207;p1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8" name="Google Shape;208;p1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sp>
          <p:nvSpPr>
            <p:cNvPr id="209" name="Google Shape;209;p1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2" name="Google Shape;65;p15">
            <a:extLst>
              <a:ext uri="{FF2B5EF4-FFF2-40B4-BE49-F238E27FC236}">
                <a16:creationId xmlns:a16="http://schemas.microsoft.com/office/drawing/2014/main" id="{994EBD9F-FA67-49A5-1331-CB3339C81D0E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250" y="4421125"/>
            <a:ext cx="1374877" cy="579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66;p15">
            <a:extLst>
              <a:ext uri="{FF2B5EF4-FFF2-40B4-BE49-F238E27FC236}">
                <a16:creationId xmlns:a16="http://schemas.microsoft.com/office/drawing/2014/main" id="{D7DD16C3-E521-7385-B8B0-2417ECC675DF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60907" y="4426101"/>
            <a:ext cx="3077995" cy="519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15837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923550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790650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923550" y="2668141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790650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6029625" y="126586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6029625" y="1713125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6029625" y="2668143"/>
            <a:ext cx="21909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8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6029625" y="3115418"/>
            <a:ext cx="2323800" cy="56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1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270751" y="-561263"/>
            <a:ext cx="8627325" cy="2190739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96911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193225" y="250521"/>
            <a:ext cx="8719077" cy="4083144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2522250" y="1086450"/>
            <a:ext cx="4099500" cy="285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604125" y="1056775"/>
            <a:ext cx="8370150" cy="3635150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17154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466114" y="283326"/>
            <a:ext cx="8310488" cy="4058138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7058557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366001" y="253149"/>
            <a:ext cx="8563397" cy="4105938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30278570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290300" y="219124"/>
            <a:ext cx="8687224" cy="4649838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7594444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2676900" y="745875"/>
            <a:ext cx="3790200" cy="716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2983301" y="1546125"/>
            <a:ext cx="3177300" cy="109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2905650" y="3292575"/>
            <a:ext cx="33327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2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2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2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6648388" y="2571750"/>
            <a:ext cx="1189800" cy="1189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5" name="Google Shape;285;p24"/>
          <p:cNvSpPr/>
          <p:nvPr/>
        </p:nvSpPr>
        <p:spPr>
          <a:xfrm>
            <a:off x="2206275" y="3477100"/>
            <a:ext cx="572100" cy="5721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6" name="Google Shape;286;p24"/>
          <p:cNvSpPr/>
          <p:nvPr/>
        </p:nvSpPr>
        <p:spPr>
          <a:xfrm>
            <a:off x="8301150" y="4048150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7" name="Google Shape;287;p24"/>
          <p:cNvSpPr/>
          <p:nvPr/>
        </p:nvSpPr>
        <p:spPr>
          <a:xfrm>
            <a:off x="6435375" y="272899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8" name="Google Shape;288;p24"/>
          <p:cNvSpPr/>
          <p:nvPr/>
        </p:nvSpPr>
        <p:spPr>
          <a:xfrm>
            <a:off x="886950" y="1064474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9" name="Google Shape;289;p24"/>
          <p:cNvSpPr/>
          <p:nvPr/>
        </p:nvSpPr>
        <p:spPr>
          <a:xfrm>
            <a:off x="1409475" y="2378025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90" name="Google Shape;290;p24"/>
          <p:cNvSpPr/>
          <p:nvPr/>
        </p:nvSpPr>
        <p:spPr>
          <a:xfrm>
            <a:off x="8168788" y="1677663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91" name="Google Shape;291;p24"/>
          <p:cNvSpPr/>
          <p:nvPr/>
        </p:nvSpPr>
        <p:spPr>
          <a:xfrm>
            <a:off x="632520" y="1546131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</p:spTree>
    <p:extLst>
      <p:ext uri="{BB962C8B-B14F-4D97-AF65-F5344CB8AC3E}">
        <p14:creationId xmlns:p14="http://schemas.microsoft.com/office/powerpoint/2010/main" val="40912448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466114" y="283326"/>
            <a:ext cx="8310488" cy="4058138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6897885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366001" y="253149"/>
            <a:ext cx="8563397" cy="4105938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1830907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ackground 3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2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16" name="Google Shape;316;p27"/>
          <p:cNvGrpSpPr/>
          <p:nvPr/>
        </p:nvGrpSpPr>
        <p:grpSpPr>
          <a:xfrm flipH="1">
            <a:off x="290300" y="219124"/>
            <a:ext cx="8687224" cy="4649838"/>
            <a:chOff x="412338" y="27249"/>
            <a:chExt cx="8687224" cy="4649838"/>
          </a:xfrm>
        </p:grpSpPr>
        <p:sp>
          <p:nvSpPr>
            <p:cNvPr id="317" name="Google Shape;317;p27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8" name="Google Shape;318;p27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19" name="Google Shape;319;p27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0" name="Google Shape;320;p27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1" name="Google Shape;321;p27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2" name="Google Shape;322;p27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3" name="Google Shape;323;p2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0FF48715-5AA0-1F35-CC88-18D848B5E8F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250" y="4421125"/>
            <a:ext cx="1374877" cy="579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6;p15">
            <a:extLst>
              <a:ext uri="{FF2B5EF4-FFF2-40B4-BE49-F238E27FC236}">
                <a16:creationId xmlns:a16="http://schemas.microsoft.com/office/drawing/2014/main" id="{536601DB-BAAD-6BA1-05D1-ABCFF7A87174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60907" y="4426101"/>
            <a:ext cx="3077995" cy="519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3584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270751" y="-561263"/>
            <a:ext cx="8627325" cy="4964025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12" name="Google Shape;65;p15">
            <a:extLst>
              <a:ext uri="{FF2B5EF4-FFF2-40B4-BE49-F238E27FC236}">
                <a16:creationId xmlns:a16="http://schemas.microsoft.com/office/drawing/2014/main" id="{6133EA0D-7F3F-4018-B6FA-A7B2A5EBCCE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 rot="16200000">
            <a:off x="-168418" y="3433844"/>
            <a:ext cx="969093" cy="4285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66;p15">
            <a:extLst>
              <a:ext uri="{FF2B5EF4-FFF2-40B4-BE49-F238E27FC236}">
                <a16:creationId xmlns:a16="http://schemas.microsoft.com/office/drawing/2014/main" id="{9AFB65ED-AE87-486A-8D90-EB45CD46066A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75274" y="4509965"/>
            <a:ext cx="2376401" cy="4107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21428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8229600" cy="6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3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378" lvl="1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566" lvl="2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754" lvl="3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5943" lvl="4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132" lvl="5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320" lvl="6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509" lvl="7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697" lvl="8" indent="-342892" algn="l" rtl="0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00594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82375" y="80700"/>
            <a:ext cx="8980800" cy="49821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62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226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CUSTOM_8_1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4745175" y="2791150"/>
            <a:ext cx="3605100" cy="46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2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4745175" y="1355675"/>
            <a:ext cx="3605100" cy="133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270750" y="253149"/>
            <a:ext cx="8703525" cy="4438776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9144000" cy="12306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152400" y="-76200"/>
            <a:ext cx="8183700" cy="776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32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35650" y="671875"/>
            <a:ext cx="8183700" cy="55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3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30167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ENTER">
    <p:bg bwMode="gray"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 hasCustomPrompt="1"/>
          </p:nvPr>
        </p:nvSpPr>
        <p:spPr bwMode="gray">
          <a:xfrm>
            <a:off x="791508" y="0"/>
            <a:ext cx="7560984" cy="28080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750"/>
              </a:spcAft>
              <a:defRPr sz="6600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  <a:endParaRPr lang="de-DE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91508" y="2808000"/>
            <a:ext cx="7560984" cy="1552500"/>
          </a:xfrm>
        </p:spPr>
        <p:txBody>
          <a:bodyPr/>
          <a:lstStyle>
            <a:lvl1pPr marL="0" indent="0" algn="l">
              <a:buNone/>
              <a:defRPr sz="3300">
                <a:solidFill>
                  <a:schemeClr val="bg1">
                    <a:lumMod val="6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46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">
            <a:extLst>
              <a:ext uri="{FF2B5EF4-FFF2-40B4-BE49-F238E27FC236}">
                <a16:creationId xmlns:a16="http://schemas.microsoft.com/office/drawing/2014/main" id="{3EA622CB-2F1F-48FE-8B01-01179C64183F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 bwMode="gray">
          <a:xfrm>
            <a:off x="5460112" y="1134000"/>
            <a:ext cx="1593207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5" name="Bild">
            <a:extLst>
              <a:ext uri="{FF2B5EF4-FFF2-40B4-BE49-F238E27FC236}">
                <a16:creationId xmlns:a16="http://schemas.microsoft.com/office/drawing/2014/main" id="{CC87BA64-5E8C-4E10-A752-ECCDD4D92F74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 bwMode="gray">
          <a:xfrm>
            <a:off x="5460112" y="2246400"/>
            <a:ext cx="1593207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7" name="Bild">
            <a:extLst>
              <a:ext uri="{FF2B5EF4-FFF2-40B4-BE49-F238E27FC236}">
                <a16:creationId xmlns:a16="http://schemas.microsoft.com/office/drawing/2014/main" id="{7606C66F-EC23-41EB-8980-E2990060E397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 bwMode="gray">
          <a:xfrm>
            <a:off x="2090074" y="1134000"/>
            <a:ext cx="1593207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8" name="Bild">
            <a:extLst>
              <a:ext uri="{FF2B5EF4-FFF2-40B4-BE49-F238E27FC236}">
                <a16:creationId xmlns:a16="http://schemas.microsoft.com/office/drawing/2014/main" id="{E90AC252-62E0-49FB-B495-CA5CD6ACF0C1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 bwMode="gray">
          <a:xfrm>
            <a:off x="2090074" y="2246400"/>
            <a:ext cx="1593207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2" name="Bild">
            <a:extLst>
              <a:ext uri="{FF2B5EF4-FFF2-40B4-BE49-F238E27FC236}">
                <a16:creationId xmlns:a16="http://schemas.microsoft.com/office/drawing/2014/main" id="{5A934E3A-28CB-4138-9B93-F3E17035A23B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 bwMode="gray">
          <a:xfrm>
            <a:off x="405055" y="3358800"/>
            <a:ext cx="4113533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3" name="Bild">
            <a:extLst>
              <a:ext uri="{FF2B5EF4-FFF2-40B4-BE49-F238E27FC236}">
                <a16:creationId xmlns:a16="http://schemas.microsoft.com/office/drawing/2014/main" id="{DB51C676-B55C-49F1-A428-C40C9D522B79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 bwMode="gray">
          <a:xfrm>
            <a:off x="4624805" y="3358800"/>
            <a:ext cx="4113533" cy="999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0" name="Bild">
            <a:extLst>
              <a:ext uri="{FF2B5EF4-FFF2-40B4-BE49-F238E27FC236}">
                <a16:creationId xmlns:a16="http://schemas.microsoft.com/office/drawing/2014/main" id="{EDBA58A3-EC37-4306-AD5F-5252EFFE59CB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 bwMode="gray">
          <a:xfrm>
            <a:off x="3775093" y="1134000"/>
            <a:ext cx="1593207" cy="21114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1" name="Bild">
            <a:extLst>
              <a:ext uri="{FF2B5EF4-FFF2-40B4-BE49-F238E27FC236}">
                <a16:creationId xmlns:a16="http://schemas.microsoft.com/office/drawing/2014/main" id="{BF2E8D61-FA5F-4338-9EFB-D867D41CEF8E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 bwMode="gray">
          <a:xfrm>
            <a:off x="7145131" y="1134000"/>
            <a:ext cx="1593207" cy="21114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31" name="Inhalt 6">
            <a:extLst>
              <a:ext uri="{FF2B5EF4-FFF2-40B4-BE49-F238E27FC236}">
                <a16:creationId xmlns:a16="http://schemas.microsoft.com/office/drawing/2014/main" id="{39BD1C62-6E4D-4BBC-84EA-DE5A74FF5FCC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gray">
          <a:xfrm>
            <a:off x="405054" y="3358800"/>
            <a:ext cx="4113534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2" name="Inhalt 6">
            <a:extLst>
              <a:ext uri="{FF2B5EF4-FFF2-40B4-BE49-F238E27FC236}">
                <a16:creationId xmlns:a16="http://schemas.microsoft.com/office/drawing/2014/main" id="{7C3334BF-64DC-413F-A8E4-CDDB7439678A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624804" y="3358800"/>
            <a:ext cx="4113534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4" name="Inhalt 6">
            <a:extLst>
              <a:ext uri="{FF2B5EF4-FFF2-40B4-BE49-F238E27FC236}">
                <a16:creationId xmlns:a16="http://schemas.microsoft.com/office/drawing/2014/main" id="{7FBA5E69-4F0E-483D-8329-2476B9FBD5E6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gray">
          <a:xfrm>
            <a:off x="3775093" y="1134000"/>
            <a:ext cx="1593207" cy="21114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5" name="Inhalt 6">
            <a:extLst>
              <a:ext uri="{FF2B5EF4-FFF2-40B4-BE49-F238E27FC236}">
                <a16:creationId xmlns:a16="http://schemas.microsoft.com/office/drawing/2014/main" id="{2B4E586C-C51B-48CD-B913-7CB1ACE53090}"/>
              </a:ext>
            </a:extLst>
          </p:cNvPr>
          <p:cNvSpPr>
            <a:spLocks noGrp="1"/>
          </p:cNvSpPr>
          <p:nvPr>
            <p:ph idx="27" hasCustomPrompt="1"/>
          </p:nvPr>
        </p:nvSpPr>
        <p:spPr bwMode="gray">
          <a:xfrm>
            <a:off x="5460112" y="1134000"/>
            <a:ext cx="1593207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6" name="Inhalt 6">
            <a:extLst>
              <a:ext uri="{FF2B5EF4-FFF2-40B4-BE49-F238E27FC236}">
                <a16:creationId xmlns:a16="http://schemas.microsoft.com/office/drawing/2014/main" id="{896D1088-B882-4647-BD68-51526FE12A0A}"/>
              </a:ext>
            </a:extLst>
          </p:cNvPr>
          <p:cNvSpPr>
            <a:spLocks noGrp="1"/>
          </p:cNvSpPr>
          <p:nvPr>
            <p:ph idx="28" hasCustomPrompt="1"/>
          </p:nvPr>
        </p:nvSpPr>
        <p:spPr bwMode="gray">
          <a:xfrm>
            <a:off x="7145131" y="1134000"/>
            <a:ext cx="1593207" cy="21114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7" name="Inhalt 6">
            <a:extLst>
              <a:ext uri="{FF2B5EF4-FFF2-40B4-BE49-F238E27FC236}">
                <a16:creationId xmlns:a16="http://schemas.microsoft.com/office/drawing/2014/main" id="{FFAF8FE0-81A4-4B10-8A69-97CE7FD123FA}"/>
              </a:ext>
            </a:extLst>
          </p:cNvPr>
          <p:cNvSpPr>
            <a:spLocks noGrp="1"/>
          </p:cNvSpPr>
          <p:nvPr>
            <p:ph idx="29" hasCustomPrompt="1"/>
          </p:nvPr>
        </p:nvSpPr>
        <p:spPr bwMode="gray">
          <a:xfrm>
            <a:off x="2090074" y="2246400"/>
            <a:ext cx="1593207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8" name="Inhalt 6">
            <a:extLst>
              <a:ext uri="{FF2B5EF4-FFF2-40B4-BE49-F238E27FC236}">
                <a16:creationId xmlns:a16="http://schemas.microsoft.com/office/drawing/2014/main" id="{2F171A93-6BD1-40C2-80C8-B81D98D73B90}"/>
              </a:ext>
            </a:extLst>
          </p:cNvPr>
          <p:cNvSpPr>
            <a:spLocks noGrp="1"/>
          </p:cNvSpPr>
          <p:nvPr>
            <p:ph idx="30" hasCustomPrompt="1"/>
          </p:nvPr>
        </p:nvSpPr>
        <p:spPr bwMode="gray">
          <a:xfrm>
            <a:off x="5460112" y="2246400"/>
            <a:ext cx="1593207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3" name="Inhalt 6">
            <a:extLst>
              <a:ext uri="{FF2B5EF4-FFF2-40B4-BE49-F238E27FC236}">
                <a16:creationId xmlns:a16="http://schemas.microsoft.com/office/drawing/2014/main" id="{B1018692-3C61-440C-AF6D-FFBA04CC6D1C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2090074" y="1134000"/>
            <a:ext cx="1593207" cy="999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9" name="Bild">
            <a:extLst>
              <a:ext uri="{FF2B5EF4-FFF2-40B4-BE49-F238E27FC236}">
                <a16:creationId xmlns:a16="http://schemas.microsoft.com/office/drawing/2014/main" id="{F7D057EF-71D1-4F1A-ADBF-D9AEA409D9F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405055" y="1134000"/>
            <a:ext cx="1593207" cy="21114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15" name="Inhalt 6"/>
          <p:cNvSpPr>
            <a:spLocks noGrp="1"/>
          </p:cNvSpPr>
          <p:nvPr>
            <p:ph idx="18" hasCustomPrompt="1"/>
          </p:nvPr>
        </p:nvSpPr>
        <p:spPr bwMode="gray">
          <a:xfrm>
            <a:off x="405055" y="1134000"/>
            <a:ext cx="1593207" cy="21114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7142" indent="0">
              <a:buNone/>
              <a:defRPr>
                <a:solidFill>
                  <a:schemeClr val="bg1"/>
                </a:solidFill>
              </a:defRPr>
            </a:lvl2pPr>
            <a:lvl3pPr marL="606854" indent="0">
              <a:buNone/>
              <a:defRPr>
                <a:solidFill>
                  <a:schemeClr val="bg1"/>
                </a:solidFill>
              </a:defRPr>
            </a:lvl3pPr>
            <a:lvl4pPr marL="876563" indent="0">
              <a:buNone/>
              <a:defRPr>
                <a:solidFill>
                  <a:schemeClr val="bg1"/>
                </a:solidFill>
              </a:defRPr>
            </a:lvl4pPr>
            <a:lvl5pPr marL="114627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405053" y="324000"/>
            <a:ext cx="8333285" cy="81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5053" y="729000"/>
            <a:ext cx="8333285" cy="405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7366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405053" y="324000"/>
            <a:ext cx="8333285" cy="81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5053" y="729000"/>
            <a:ext cx="8333285" cy="405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405053" y="1134000"/>
            <a:ext cx="8333285" cy="3223800"/>
          </a:xfrm>
        </p:spPr>
        <p:txBody>
          <a:bodyPr/>
          <a:lstStyle/>
          <a:p>
            <a:pPr marL="202500" marR="0" lvl="0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540000" marR="0" lvl="1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810000" marR="0" lvl="2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080000" marR="0" lvl="3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350000" marR="0" lvl="4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155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68573" tIns="34286" rIns="68573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706858"/>
            <a:ext cx="8350940" cy="406106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387240" y="1112964"/>
            <a:ext cx="8351099" cy="3239436"/>
          </a:xfrm>
          <a:noFill/>
        </p:spPr>
        <p:txBody>
          <a:bodyPr/>
          <a:lstStyle>
            <a:lvl1pPr>
              <a:defRPr sz="165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3747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FEHLUNGEN">
    <p:bg bwMode="gray"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405053" y="324000"/>
            <a:ext cx="8333285" cy="81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Bild 1">
            <a:extLst>
              <a:ext uri="{FF2B5EF4-FFF2-40B4-BE49-F238E27FC236}">
                <a16:creationId xmlns:a16="http://schemas.microsoft.com/office/drawing/2014/main" id="{FDBAC1D6-F982-4CB7-A3BF-76A69CAA15B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405052" y="1571400"/>
            <a:ext cx="2700351" cy="15201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2" name="Text 1">
            <a:extLst>
              <a:ext uri="{FF2B5EF4-FFF2-40B4-BE49-F238E27FC236}">
                <a16:creationId xmlns:a16="http://schemas.microsoft.com/office/drawing/2014/main" id="{CB682352-50EC-4DA2-AAF5-80ED0B0DB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5054" y="3240000"/>
            <a:ext cx="2700351" cy="405000"/>
          </a:xfrm>
        </p:spPr>
        <p:txBody>
          <a:bodyPr/>
          <a:lstStyle>
            <a:lvl1pPr marL="0" indent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buNone/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14746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Bild 2">
            <a:extLst>
              <a:ext uri="{FF2B5EF4-FFF2-40B4-BE49-F238E27FC236}">
                <a16:creationId xmlns:a16="http://schemas.microsoft.com/office/drawing/2014/main" id="{3CFF6691-0D52-449F-B228-82F79CDD7BA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3221825" y="1571400"/>
            <a:ext cx="2700351" cy="15201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9428620A-732F-48B6-8A2C-A7657453B5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21520" y="3240000"/>
            <a:ext cx="2700351" cy="405000"/>
          </a:xfrm>
        </p:spPr>
        <p:txBody>
          <a:bodyPr/>
          <a:lstStyle>
            <a:lvl1pPr marL="0" indent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buNone/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14746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Bild 3">
            <a:extLst>
              <a:ext uri="{FF2B5EF4-FFF2-40B4-BE49-F238E27FC236}">
                <a16:creationId xmlns:a16="http://schemas.microsoft.com/office/drawing/2014/main" id="{F3B54565-3EA0-4861-8CD0-BA8870C0786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6037988" y="1571400"/>
            <a:ext cx="2700351" cy="15201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4" name="Text 3">
            <a:extLst>
              <a:ext uri="{FF2B5EF4-FFF2-40B4-BE49-F238E27FC236}">
                <a16:creationId xmlns:a16="http://schemas.microsoft.com/office/drawing/2014/main" id="{2A5B4010-D1EF-4D1C-B59D-F4E11D9516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37987" y="3240000"/>
            <a:ext cx="2700351" cy="405000"/>
          </a:xfrm>
        </p:spPr>
        <p:txBody>
          <a:bodyPr/>
          <a:lstStyle>
            <a:lvl1pPr marL="0" indent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buNone/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685732" rtl="0" eaLnBrk="1" latinLnBrk="0" hangingPunct="1">
              <a:lnSpc>
                <a:spcPct val="90000"/>
              </a:lnSpc>
              <a:spcAft>
                <a:spcPts val="750"/>
              </a:spcAft>
              <a:defRPr lang="de-DE" sz="105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14746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551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35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3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188415" y="2624233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6101380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3643771" y="263292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970625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3425971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5883580" y="2964530"/>
            <a:ext cx="2286000" cy="69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270750" y="253149"/>
            <a:ext cx="8627325" cy="4216100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2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264169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346969" y="3066379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5950358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3648664" y="3066346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346969" y="1628058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5950358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3648664" y="1630967"/>
            <a:ext cx="1850400" cy="317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3565864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5867558" y="191276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262282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3563976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5865671" y="3350313"/>
            <a:ext cx="2016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ONE_COLUMN_TEXT_1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4668775" y="1294650"/>
            <a:ext cx="3609600" cy="141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4948375" y="2831250"/>
            <a:ext cx="3330000" cy="71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16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270750" y="253149"/>
            <a:ext cx="8627325" cy="4036194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343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444" imgH="443" progId="TCLayout.ActiveDocument.1">
                  <p:embed/>
                </p:oleObj>
              </mc:Choice>
              <mc:Fallback>
                <p:oleObj name="think-cell Folie" r:id="rId25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4" r:id="rId19"/>
    <p:sldLayoutId id="2147483675" r:id="rId20"/>
    <p:sldLayoutId id="2147483676" r:id="rId21"/>
    <p:sldLayoutId id="2147483677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8600" y="3178175"/>
            <a:ext cx="1066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62100" y="3178175"/>
            <a:ext cx="1447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76600" y="3178175"/>
            <a:ext cx="1066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72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indent="-142875" algn="l" defTabSz="4572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2075958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44" imgH="443" progId="TCLayout.ActiveDocument.1">
                  <p:embed/>
                </p:oleObj>
              </mc:Choice>
              <mc:Fallback>
                <p:oleObj name="think-cell Slide" r:id="rId30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077556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DC9FB2-5147-C2C2-931C-9826223CD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735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44" imgH="443" progId="TCLayout.ActiveDocument.1">
                  <p:embed/>
                </p:oleObj>
              </mc:Choice>
              <mc:Fallback>
                <p:oleObj name="think-cell Slide" r:id="rId9" imgW="444" imgH="44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DC9FB2-5147-C2C2-931C-9826223CD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405053" y="324000"/>
            <a:ext cx="8333285" cy="81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405053" y="1134000"/>
            <a:ext cx="8333285" cy="3223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2500" marR="0" lvl="0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540000" marR="0" lvl="1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810000" marR="0" lvl="2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080000" marR="0" lvl="3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350000" marR="0" lvl="4" indent="-2025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5225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2500" indent="-202500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Wingdings" panose="05000000000000000000" pitchFamily="2" charset="2"/>
        <a:buChar char="§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02500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Calibri Light" panose="020F030202020403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02500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Calibri Light" panose="020F030202020403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02500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Calibri Light" panose="020F030202020403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02500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Calibri Light" panose="020F030202020403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18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8.png"/><Relationship Id="rId5" Type="http://schemas.openxmlformats.org/officeDocument/2006/relationships/image" Target="../media/image34.svg"/><Relationship Id="rId10" Type="http://schemas.openxmlformats.org/officeDocument/2006/relationships/image" Target="../media/image9.png"/><Relationship Id="rId4" Type="http://schemas.openxmlformats.org/officeDocument/2006/relationships/image" Target="../media/image33.png"/><Relationship Id="rId9" Type="http://schemas.openxmlformats.org/officeDocument/2006/relationships/image" Target="../media/image2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11" Type="http://schemas.openxmlformats.org/officeDocument/2006/relationships/image" Target="../media/image8.png"/><Relationship Id="rId5" Type="http://schemas.openxmlformats.org/officeDocument/2006/relationships/image" Target="../media/image18.svg"/><Relationship Id="rId10" Type="http://schemas.openxmlformats.org/officeDocument/2006/relationships/image" Target="../media/image9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9.png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.png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2700000">
            <a:off x="5723337" y="2846513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3" name="Freeform 3"/>
          <p:cNvSpPr/>
          <p:nvPr/>
        </p:nvSpPr>
        <p:spPr>
          <a:xfrm flipH="1" flipV="1">
            <a:off x="7900890" y="3688233"/>
            <a:ext cx="1243110" cy="1455268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4" name="Freeform 4"/>
          <p:cNvSpPr/>
          <p:nvPr/>
        </p:nvSpPr>
        <p:spPr>
          <a:xfrm>
            <a:off x="514350" y="423626"/>
            <a:ext cx="1938484" cy="817115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5" name="TextBox 5"/>
          <p:cNvSpPr txBox="1"/>
          <p:nvPr/>
        </p:nvSpPr>
        <p:spPr>
          <a:xfrm>
            <a:off x="514350" y="1664104"/>
            <a:ext cx="5477030" cy="22666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50"/>
              </a:lnSpc>
            </a:pPr>
            <a:r>
              <a:rPr lang="en-US" sz="5750" dirty="0">
                <a:latin typeface="Titillium Web Bold"/>
              </a:rPr>
              <a:t>Team Up 2024 </a:t>
            </a:r>
            <a:br>
              <a:rPr lang="en-US" sz="5750" dirty="0">
                <a:latin typeface="Titillium Web Bold"/>
              </a:rPr>
            </a:br>
            <a:br>
              <a:rPr lang="en-US" sz="5750" dirty="0">
                <a:latin typeface="Titillium Web Bold"/>
              </a:rPr>
            </a:br>
            <a:endParaRPr lang="en-US" sz="5750" dirty="0">
              <a:latin typeface="Titillium Web Bold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88778" y="2381736"/>
            <a:ext cx="2897768" cy="263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00"/>
              </a:lnSpc>
            </a:pPr>
            <a:r>
              <a:rPr lang="en-US" sz="1600" dirty="0">
                <a:latin typeface="Titillium Web Bold"/>
              </a:rPr>
              <a:t>Session 4 - Prototyping</a:t>
            </a:r>
            <a:endParaRPr lang="en-US" sz="1500" dirty="0">
              <a:latin typeface="Titillium Web Bold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313511" y="1683948"/>
            <a:ext cx="2316140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450"/>
              </a:lnSpc>
            </a:pPr>
            <a:r>
              <a:rPr lang="en-US" sz="1750" dirty="0">
                <a:latin typeface="Titillium Web Bold"/>
              </a:rPr>
              <a:t>June 25, 2024</a:t>
            </a:r>
          </a:p>
        </p:txBody>
      </p:sp>
      <p:sp>
        <p:nvSpPr>
          <p:cNvPr id="8" name="Freeform 8"/>
          <p:cNvSpPr/>
          <p:nvPr/>
        </p:nvSpPr>
        <p:spPr>
          <a:xfrm>
            <a:off x="4862814" y="514350"/>
            <a:ext cx="3766836" cy="635667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E658B7CC-9BE8-4D45-B002-2CA2A8835217}"/>
              </a:ext>
            </a:extLst>
          </p:cNvPr>
          <p:cNvSpPr/>
          <p:nvPr/>
        </p:nvSpPr>
        <p:spPr>
          <a:xfrm>
            <a:off x="3486546" y="2691285"/>
            <a:ext cx="3039107" cy="2458340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253872" y="388738"/>
            <a:ext cx="8636257" cy="4366024"/>
            <a:chOff x="0" y="0"/>
            <a:chExt cx="23030019" cy="11642730"/>
          </a:xfrm>
        </p:grpSpPr>
        <p:sp>
          <p:nvSpPr>
            <p:cNvPr id="3" name="Freeform 3"/>
            <p:cNvSpPr/>
            <p:nvPr/>
          </p:nvSpPr>
          <p:spPr>
            <a:xfrm>
              <a:off x="0" y="26889"/>
              <a:ext cx="12978594" cy="11615841"/>
            </a:xfrm>
            <a:custGeom>
              <a:avLst/>
              <a:gdLst/>
              <a:ahLst/>
              <a:cxnLst/>
              <a:rect l="l" t="t" r="r" b="b"/>
              <a:pathLst>
                <a:path w="12978594" h="11615841">
                  <a:moveTo>
                    <a:pt x="0" y="0"/>
                  </a:moveTo>
                  <a:lnTo>
                    <a:pt x="12978594" y="0"/>
                  </a:lnTo>
                  <a:lnTo>
                    <a:pt x="12978594" y="11615841"/>
                  </a:lnTo>
                  <a:lnTo>
                    <a:pt x="0" y="116158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6999"/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l-PL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" name="Freeform 4"/>
            <p:cNvSpPr/>
            <p:nvPr/>
          </p:nvSpPr>
          <p:spPr>
            <a:xfrm>
              <a:off x="10051425" y="0"/>
              <a:ext cx="12978594" cy="11615841"/>
            </a:xfrm>
            <a:custGeom>
              <a:avLst/>
              <a:gdLst/>
              <a:ahLst/>
              <a:cxnLst/>
              <a:rect l="l" t="t" r="r" b="b"/>
              <a:pathLst>
                <a:path w="12978594" h="11615841">
                  <a:moveTo>
                    <a:pt x="0" y="0"/>
                  </a:moveTo>
                  <a:lnTo>
                    <a:pt x="12978594" y="0"/>
                  </a:lnTo>
                  <a:lnTo>
                    <a:pt x="12978594" y="11615841"/>
                  </a:lnTo>
                  <a:lnTo>
                    <a:pt x="0" y="116158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6999"/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l-PL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5" name="Freeform 5"/>
          <p:cNvSpPr/>
          <p:nvPr/>
        </p:nvSpPr>
        <p:spPr>
          <a:xfrm>
            <a:off x="6177406" y="-1464713"/>
            <a:ext cx="2712723" cy="2697926"/>
          </a:xfrm>
          <a:custGeom>
            <a:avLst/>
            <a:gdLst/>
            <a:ahLst/>
            <a:cxnLst/>
            <a:rect l="l" t="t" r="r" b="b"/>
            <a:pathLst>
              <a:path w="5425445" h="5395852">
                <a:moveTo>
                  <a:pt x="0" y="0"/>
                </a:moveTo>
                <a:lnTo>
                  <a:pt x="5425445" y="0"/>
                </a:lnTo>
                <a:lnTo>
                  <a:pt x="5425445" y="5395852"/>
                </a:lnTo>
                <a:lnTo>
                  <a:pt x="0" y="53958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Freeform 6"/>
          <p:cNvSpPr/>
          <p:nvPr/>
        </p:nvSpPr>
        <p:spPr>
          <a:xfrm flipH="1" flipV="1">
            <a:off x="7900890" y="3688233"/>
            <a:ext cx="1243110" cy="1455268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4" name="Freeform 24"/>
          <p:cNvSpPr/>
          <p:nvPr/>
        </p:nvSpPr>
        <p:spPr>
          <a:xfrm rot="2700000">
            <a:off x="-80767" y="4110229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Freeform 2">
            <a:extLst>
              <a:ext uri="{FF2B5EF4-FFF2-40B4-BE49-F238E27FC236}">
                <a16:creationId xmlns:a16="http://schemas.microsoft.com/office/drawing/2014/main" id="{D8451285-F11D-4A3F-AA47-F13F4F136192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2" name="Freeform 3">
            <a:extLst>
              <a:ext uri="{FF2B5EF4-FFF2-40B4-BE49-F238E27FC236}">
                <a16:creationId xmlns:a16="http://schemas.microsoft.com/office/drawing/2014/main" id="{2CCD9294-ABD6-4A47-946A-334844D163EB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graphicFrame>
        <p:nvGraphicFramePr>
          <p:cNvPr id="14" name="Google Shape;1086;p43">
            <a:extLst>
              <a:ext uri="{FF2B5EF4-FFF2-40B4-BE49-F238E27FC236}">
                <a16:creationId xmlns:a16="http://schemas.microsoft.com/office/drawing/2014/main" id="{AAC38344-23FB-4F2C-A15E-252F9560DC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6520176"/>
              </p:ext>
            </p:extLst>
          </p:nvPr>
        </p:nvGraphicFramePr>
        <p:xfrm>
          <a:off x="538952" y="703281"/>
          <a:ext cx="8181404" cy="363423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04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45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3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4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944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4634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eek 1</a:t>
                      </a: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noProof="0" dirty="0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Let’s get started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eek 2</a:t>
                      </a: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noProof="0" dirty="0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peed dating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eek 3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Get to know your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 potential matches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eek 4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orking together: 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Case studies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noProof="0" dirty="0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Week 5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0" i="0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Preparing your proposal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068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Matchmaking </a:t>
                      </a:r>
                      <a:b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</a:b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Kick-off</a:t>
                      </a:r>
                      <a:endParaRPr lang="en-GB" sz="1100" noProof="0" dirty="0">
                        <a:solidFill>
                          <a:schemeClr val="dk2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i="1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7th June</a:t>
                      </a:r>
                      <a:r>
                        <a:rPr lang="en-GB" sz="1100" b="1" i="1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i="1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  <a:endParaRPr lang="en-GB" sz="1100" b="1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4</a:t>
                      </a:r>
                      <a:b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</a:br>
                      <a:r>
                        <a:rPr lang="en-GB" sz="105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Speed dating Prototyping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25th June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6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Get to know three co-founders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2nd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8</a:t>
                      </a: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noProof="0" dirty="0">
                        <a:solidFill>
                          <a:schemeClr val="dk2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Working together 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co-founders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9th July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10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Preparing proposal with co-founder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th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068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2</a:t>
                      </a: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b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</a:br>
                      <a:r>
                        <a:rPr lang="en-GB" sz="105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Tech pitch</a:t>
                      </a:r>
                      <a:endParaRPr lang="en-GB" sz="1100" noProof="0" dirty="0">
                        <a:solidFill>
                          <a:schemeClr val="dk2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i="1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9th June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i="1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  <a:endParaRPr lang="en-GB" sz="1100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5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Speed dating 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Business Model 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27th June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7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Get to know three co-founders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4th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9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Working together 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co-founders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1th July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11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Preparing proposal with co-founder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8th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89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Session #3</a:t>
                      </a: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b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</a:br>
                      <a:r>
                        <a:rPr lang="en-GB" sz="1050" b="1" noProof="1">
                          <a:solidFill>
                            <a:schemeClr val="dk1"/>
                          </a:solidFill>
                          <a:latin typeface="Titillium Web"/>
                        </a:rPr>
                        <a:t>Biz Pitch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21st June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Friday hang-out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28th June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0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Friday hang-out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5th June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0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Friday hang-out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2th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0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noProof="0" dirty="0">
                          <a:solidFill>
                            <a:schemeClr val="dk2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Last call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9th July</a:t>
                      </a: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</a:rPr>
                        <a:t> </a:t>
                      </a:r>
                      <a:endParaRPr lang="en-GB" sz="1100" b="1" i="1" u="none" strike="noStrike" cap="none" noProof="0" dirty="0">
                        <a:solidFill>
                          <a:schemeClr val="tx1"/>
                        </a:solidFill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GB" sz="1100" b="1" i="1" u="none" strike="noStrike" cap="none" noProof="0" dirty="0">
                          <a:solidFill>
                            <a:schemeClr val="tx1"/>
                          </a:solidFill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16:00 - 17:30 CE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7966E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514350" y="628650"/>
            <a:ext cx="5477030" cy="7790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ts val="5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5750" b="0" i="0" u="none" strike="noStrike" kern="1200" cap="none" spc="0" normalizeH="0" baseline="0" noProof="0" dirty="0">
                <a:ln>
                  <a:noFill/>
                </a:ln>
                <a:solidFill>
                  <a:srgbClr val="333089"/>
                </a:solidFill>
                <a:effectLst/>
                <a:uLnTx/>
                <a:uFillTx/>
                <a:latin typeface="Titillium Web Bold"/>
                <a:ea typeface="+mn-ea"/>
                <a:cs typeface="Arial"/>
                <a:sym typeface="Arial"/>
              </a:rPr>
              <a:t>Next Steps</a:t>
            </a:r>
          </a:p>
        </p:txBody>
      </p:sp>
      <p:sp>
        <p:nvSpPr>
          <p:cNvPr id="5" name="AutoShape 5"/>
          <p:cNvSpPr/>
          <p:nvPr/>
        </p:nvSpPr>
        <p:spPr>
          <a:xfrm>
            <a:off x="514360" y="1396206"/>
            <a:ext cx="3444404" cy="4512"/>
          </a:xfrm>
          <a:prstGeom prst="line">
            <a:avLst/>
          </a:prstGeom>
          <a:ln w="28575" cap="rnd">
            <a:solidFill>
              <a:srgbClr val="33308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9" name="Google Shape;763;p52">
            <a:extLst>
              <a:ext uri="{FF2B5EF4-FFF2-40B4-BE49-F238E27FC236}">
                <a16:creationId xmlns:a16="http://schemas.microsoft.com/office/drawing/2014/main" id="{3C47C48F-A809-4EF8-8CD4-85BB11EFCA5C}"/>
              </a:ext>
            </a:extLst>
          </p:cNvPr>
          <p:cNvSpPr txBox="1">
            <a:spLocks/>
          </p:cNvSpPr>
          <p:nvPr/>
        </p:nvSpPr>
        <p:spPr>
          <a:xfrm>
            <a:off x="606833" y="1407709"/>
            <a:ext cx="7632366" cy="2142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171450" indent="-17145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1475" indent="-142875" algn="l" defTabSz="4572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1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573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rgbClr val="202124"/>
              </a:buClr>
              <a:buSzPts val="1700"/>
              <a:buFont typeface="Arial" pitchFamily="34" charset="0"/>
              <a:buNone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Titillium Web"/>
              <a:ea typeface="+mn-ea"/>
              <a:cs typeface="+mn-cs"/>
              <a:sym typeface="Arial"/>
            </a:endParaRPr>
          </a:p>
          <a:p>
            <a:pPr marL="171450" marR="0" lvl="0" indent="-336550" algn="l" defTabSz="457200" rtl="0" eaLnBrk="1" fontAlgn="auto" latinLnBrk="0" hangingPunct="1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rgbClr val="202124"/>
              </a:buClr>
              <a:buSzPts val="1700"/>
              <a:buFont typeface="Titillium Web"/>
              <a:buChar char="❏"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Titillium Web"/>
              <a:ea typeface="+mn-ea"/>
              <a:cs typeface="+mn-cs"/>
              <a:sym typeface="Titillium Web"/>
            </a:endParaRPr>
          </a:p>
          <a:p>
            <a:pPr marL="171450" marR="0" lvl="0" indent="-336550" algn="l" defTabSz="457200" rtl="0" eaLnBrk="1" fontAlgn="auto" latinLnBrk="0" hangingPunct="1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rgbClr val="202124"/>
              </a:buClr>
              <a:buSzPts val="1700"/>
              <a:buFont typeface="Titillium Web"/>
              <a:buChar char="❏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Titillium Web"/>
              </a:rPr>
              <a:t>Manage your agenda for next week </a:t>
            </a:r>
            <a:b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Titillium Web"/>
              </a:rPr>
            </a:br>
            <a:r>
              <a:rPr lang="en-US" sz="2500" dirty="0">
                <a:solidFill>
                  <a:srgbClr val="202124"/>
                </a:solidFill>
                <a:latin typeface="Titillium Web"/>
                <a:sym typeface="Titillium Web"/>
              </a:rPr>
              <a:t>to find a match</a:t>
            </a: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Titillium Web"/>
              <a:ea typeface="+mn-ea"/>
              <a:cs typeface="+mn-cs"/>
              <a:sym typeface="Titillium Web"/>
            </a:endParaRPr>
          </a:p>
          <a:p>
            <a:pPr marL="171450" marR="0" lvl="0" indent="-336550" algn="l" defTabSz="457200" rtl="0" eaLnBrk="1" fontAlgn="auto" latinLnBrk="0" hangingPunct="1">
              <a:lnSpc>
                <a:spcPct val="115000"/>
              </a:lnSpc>
              <a:spcBef>
                <a:spcPts val="2400"/>
              </a:spcBef>
              <a:spcAft>
                <a:spcPts val="0"/>
              </a:spcAft>
              <a:buClr>
                <a:srgbClr val="202124"/>
              </a:buClr>
              <a:buSzPts val="1700"/>
              <a:buFont typeface="Titillium Web"/>
              <a:buChar char="❏"/>
              <a:tabLst/>
              <a:defRPr/>
            </a:pPr>
            <a:r>
              <a:rPr kumimoji="0" lang="en-GB" sz="25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Titillium Web"/>
              </a:rPr>
              <a:t>Biz </a:t>
            </a:r>
            <a:r>
              <a:rPr kumimoji="0" lang="en-GB" sz="25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Wingdings" panose="05000000000000000000" pitchFamily="2" charset="2"/>
              </a:rPr>
              <a:t>- w</a:t>
            </a:r>
            <a:r>
              <a:rPr kumimoji="0" lang="en-GB" sz="25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Titillium Web"/>
              </a:rPr>
              <a:t>ork on the business models canvas with your #Tech partners</a:t>
            </a:r>
            <a:endParaRPr kumimoji="0" lang="en-GB" sz="2500" b="0" i="0" u="none" strike="noStrike" kern="1200" cap="none" spc="0" normalizeH="0" baseline="0" noProof="0" dirty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Titillium Web"/>
              <a:ea typeface="+mn-ea"/>
              <a:cs typeface="+mn-cs"/>
              <a:sym typeface="Arial"/>
            </a:endParaRPr>
          </a:p>
          <a:p>
            <a:pPr marL="171450" marR="0" lvl="0" indent="-336550" algn="l" defTabSz="457200" rtl="0" eaLnBrk="1" fontAlgn="auto" latinLnBrk="0" hangingPunct="1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rgbClr val="202124"/>
              </a:buClr>
              <a:buSzPts val="1700"/>
              <a:buFont typeface="Titillium Web"/>
              <a:buChar char="❏"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Titillium Web"/>
              <a:ea typeface="+mn-ea"/>
              <a:cs typeface="+mn-cs"/>
              <a:sym typeface="Arial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D03ABE8E-493F-4543-B210-2499184C8657}"/>
              </a:ext>
            </a:extLst>
          </p:cNvPr>
          <p:cNvSpPr/>
          <p:nvPr/>
        </p:nvSpPr>
        <p:spPr>
          <a:xfrm>
            <a:off x="5991380" y="198419"/>
            <a:ext cx="3039107" cy="2458340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67598" y="0"/>
            <a:ext cx="4639598" cy="51435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7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330"/>
                </a:lnSpc>
              </a:pPr>
              <a:endParaRPr sz="700"/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700"/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323302" y="1347983"/>
            <a:ext cx="37902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338C"/>
              </a:buClr>
              <a:buSzPts val="2800"/>
              <a:buFont typeface="Titillium Web"/>
              <a:buNone/>
              <a:tabLst/>
              <a:defRPr/>
            </a:pPr>
            <a:r>
              <a:rPr kumimoji="0" lang="en-GB" sz="3100" b="1" i="0" u="none" strike="noStrike" kern="0" cap="none" spc="0" normalizeH="0" baseline="0" noProof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/>
                <a:sym typeface="Titillium Web"/>
              </a:rPr>
              <a:t>Contact Us!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629752" y="2281133"/>
            <a:ext cx="3177300" cy="12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/>
                <a:sym typeface="Titillium Web"/>
              </a:rPr>
              <a:t>Do you have any questions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/>
              <a:sym typeface="Titillium Web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20"/>
              </a:buClr>
              <a:buSzPts val="1800"/>
              <a:buFont typeface="Titillium Web"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>
                <a:ln>
                  <a:noFill/>
                </a:ln>
                <a:solidFill>
                  <a:srgbClr val="36338C"/>
                </a:solidFill>
                <a:effectLst/>
                <a:uLnTx/>
                <a:uFillTx/>
                <a:latin typeface="Titillium Web"/>
                <a:sym typeface="Titillium Web"/>
              </a:rPr>
              <a:t>teamup@eitfood.eu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solidFill>
                <a:srgbClr val="36338C"/>
              </a:solidFill>
              <a:effectLst/>
              <a:uLnTx/>
              <a:uFillTx/>
              <a:latin typeface="Titillium Web"/>
              <a:sym typeface="Titillium Web"/>
            </a:endParaRPr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2848E517-CCE1-4392-AB25-272EC7491AA4}"/>
              </a:ext>
            </a:extLst>
          </p:cNvPr>
          <p:cNvSpPr/>
          <p:nvPr/>
        </p:nvSpPr>
        <p:spPr>
          <a:xfrm>
            <a:off x="5901993" y="1493914"/>
            <a:ext cx="1879152" cy="1879152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>
          <a:xfrm rot="2700000">
            <a:off x="6272110" y="2007706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AutoShape 2"/>
          <p:cNvSpPr/>
          <p:nvPr/>
        </p:nvSpPr>
        <p:spPr>
          <a:xfrm rot="5400000">
            <a:off x="1800850" y="2371825"/>
            <a:ext cx="3444407" cy="0"/>
          </a:xfrm>
          <a:prstGeom prst="line">
            <a:avLst/>
          </a:prstGeom>
          <a:ln w="28575" cap="rnd">
            <a:solidFill>
              <a:srgbClr val="CAC0F6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reeform 8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420;p32">
            <a:extLst>
              <a:ext uri="{FF2B5EF4-FFF2-40B4-BE49-F238E27FC236}">
                <a16:creationId xmlns:a16="http://schemas.microsoft.com/office/drawing/2014/main" id="{FEFCAFF7-A828-4AA9-9100-D16878B31EC5}"/>
              </a:ext>
            </a:extLst>
          </p:cNvPr>
          <p:cNvSpPr txBox="1">
            <a:spLocks/>
          </p:cNvSpPr>
          <p:nvPr/>
        </p:nvSpPr>
        <p:spPr>
          <a:xfrm>
            <a:off x="397319" y="901869"/>
            <a:ext cx="2857575" cy="59549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4000" b="1">
                <a:latin typeface="Titillium Web"/>
                <a:ea typeface="Titillium Web"/>
                <a:cs typeface="Titillium Web"/>
                <a:sym typeface="Titillium Web"/>
              </a:rPr>
              <a:t>Today’s Agenda</a:t>
            </a:r>
          </a:p>
        </p:txBody>
      </p:sp>
      <p:sp>
        <p:nvSpPr>
          <p:cNvPr id="11" name="Google Shape;423;p32">
            <a:extLst>
              <a:ext uri="{FF2B5EF4-FFF2-40B4-BE49-F238E27FC236}">
                <a16:creationId xmlns:a16="http://schemas.microsoft.com/office/drawing/2014/main" id="{92777602-7AD2-4C5F-A7E6-6B368C72AF6D}"/>
              </a:ext>
            </a:extLst>
          </p:cNvPr>
          <p:cNvSpPr txBox="1">
            <a:spLocks/>
          </p:cNvSpPr>
          <p:nvPr/>
        </p:nvSpPr>
        <p:spPr>
          <a:xfrm>
            <a:off x="3690563" y="637257"/>
            <a:ext cx="4939087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GB" b="1" dirty="0"/>
              <a:t>Introduction to today's session (5 min.)</a:t>
            </a:r>
          </a:p>
        </p:txBody>
      </p:sp>
      <p:sp>
        <p:nvSpPr>
          <p:cNvPr id="12" name="Google Shape;428;p32">
            <a:extLst>
              <a:ext uri="{FF2B5EF4-FFF2-40B4-BE49-F238E27FC236}">
                <a16:creationId xmlns:a16="http://schemas.microsoft.com/office/drawing/2014/main" id="{0F30BA7C-CE30-456A-9553-B9257F3336FD}"/>
              </a:ext>
            </a:extLst>
          </p:cNvPr>
          <p:cNvSpPr txBox="1">
            <a:spLocks/>
          </p:cNvSpPr>
          <p:nvPr/>
        </p:nvSpPr>
        <p:spPr>
          <a:xfrm>
            <a:off x="3690563" y="1497359"/>
            <a:ext cx="4087617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GB" b="1" dirty="0"/>
              <a:t>Prototyping canvas (15 min.)</a:t>
            </a:r>
          </a:p>
        </p:txBody>
      </p:sp>
      <p:sp>
        <p:nvSpPr>
          <p:cNvPr id="13" name="Google Shape;432;p32">
            <a:extLst>
              <a:ext uri="{FF2B5EF4-FFF2-40B4-BE49-F238E27FC236}">
                <a16:creationId xmlns:a16="http://schemas.microsoft.com/office/drawing/2014/main" id="{4C0193A1-B836-4E38-BB42-2E1957FA47D7}"/>
              </a:ext>
            </a:extLst>
          </p:cNvPr>
          <p:cNvSpPr txBox="1">
            <a:spLocks/>
          </p:cNvSpPr>
          <p:nvPr/>
        </p:nvSpPr>
        <p:spPr>
          <a:xfrm>
            <a:off x="3690563" y="3025395"/>
            <a:ext cx="3847778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GB" b="1" dirty="0"/>
              <a:t>Summary &amp; Next Steps  (10 min.)</a:t>
            </a:r>
          </a:p>
        </p:txBody>
      </p:sp>
      <p:sp>
        <p:nvSpPr>
          <p:cNvPr id="14" name="Google Shape;430;p32">
            <a:extLst>
              <a:ext uri="{FF2B5EF4-FFF2-40B4-BE49-F238E27FC236}">
                <a16:creationId xmlns:a16="http://schemas.microsoft.com/office/drawing/2014/main" id="{8AE63301-B029-423F-B431-1BCC71607F0C}"/>
              </a:ext>
            </a:extLst>
          </p:cNvPr>
          <p:cNvSpPr txBox="1">
            <a:spLocks/>
          </p:cNvSpPr>
          <p:nvPr/>
        </p:nvSpPr>
        <p:spPr>
          <a:xfrm>
            <a:off x="3690563" y="2340010"/>
            <a:ext cx="4412036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Libre Franklin"/>
              <a:buChar char="●"/>
              <a:defRPr sz="18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●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●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buNone/>
            </a:pPr>
            <a:r>
              <a:rPr lang="en-GB" b="1" dirty="0">
                <a:latin typeface="Titillium Web"/>
                <a:ea typeface="Titillium Web"/>
                <a:cs typeface="Titillium Web"/>
                <a:sym typeface="Titillium Web"/>
              </a:rPr>
              <a:t>Working 1:1  in break-out rooms (60 min.)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DE41A03-FE2E-4C07-8DEE-42D114418C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19171" y="987589"/>
            <a:ext cx="1726531" cy="139717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253872" y="388738"/>
            <a:ext cx="8636257" cy="4366024"/>
            <a:chOff x="0" y="0"/>
            <a:chExt cx="23030019" cy="11642730"/>
          </a:xfrm>
        </p:grpSpPr>
        <p:sp>
          <p:nvSpPr>
            <p:cNvPr id="3" name="Freeform 3"/>
            <p:cNvSpPr/>
            <p:nvPr/>
          </p:nvSpPr>
          <p:spPr>
            <a:xfrm>
              <a:off x="0" y="26889"/>
              <a:ext cx="12978594" cy="11615841"/>
            </a:xfrm>
            <a:custGeom>
              <a:avLst/>
              <a:gdLst/>
              <a:ahLst/>
              <a:cxnLst/>
              <a:rect l="l" t="t" r="r" b="b"/>
              <a:pathLst>
                <a:path w="12978594" h="11615841">
                  <a:moveTo>
                    <a:pt x="0" y="0"/>
                  </a:moveTo>
                  <a:lnTo>
                    <a:pt x="12978594" y="0"/>
                  </a:lnTo>
                  <a:lnTo>
                    <a:pt x="12978594" y="11615841"/>
                  </a:lnTo>
                  <a:lnTo>
                    <a:pt x="0" y="116158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6999"/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l-PL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" name="Freeform 4"/>
            <p:cNvSpPr/>
            <p:nvPr/>
          </p:nvSpPr>
          <p:spPr>
            <a:xfrm>
              <a:off x="10051425" y="0"/>
              <a:ext cx="12978594" cy="11615841"/>
            </a:xfrm>
            <a:custGeom>
              <a:avLst/>
              <a:gdLst/>
              <a:ahLst/>
              <a:cxnLst/>
              <a:rect l="l" t="t" r="r" b="b"/>
              <a:pathLst>
                <a:path w="12978594" h="11615841">
                  <a:moveTo>
                    <a:pt x="0" y="0"/>
                  </a:moveTo>
                  <a:lnTo>
                    <a:pt x="12978594" y="0"/>
                  </a:lnTo>
                  <a:lnTo>
                    <a:pt x="12978594" y="11615841"/>
                  </a:lnTo>
                  <a:lnTo>
                    <a:pt x="0" y="116158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6999"/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l-PL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6" name="Freeform 6"/>
          <p:cNvSpPr/>
          <p:nvPr/>
        </p:nvSpPr>
        <p:spPr>
          <a:xfrm flipH="1" flipV="1">
            <a:off x="7900890" y="3688233"/>
            <a:ext cx="1243110" cy="1455268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-508569" y="-658338"/>
            <a:ext cx="2565919" cy="2057400"/>
          </a:xfrm>
          <a:custGeom>
            <a:avLst/>
            <a:gdLst/>
            <a:ahLst/>
            <a:cxnLst/>
            <a:rect l="l" t="t" r="r" b="b"/>
            <a:pathLst>
              <a:path w="5131837" h="4114800">
                <a:moveTo>
                  <a:pt x="0" y="0"/>
                </a:moveTo>
                <a:lnTo>
                  <a:pt x="5131837" y="0"/>
                </a:lnTo>
                <a:lnTo>
                  <a:pt x="5131837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8" name="Group 8"/>
          <p:cNvGrpSpPr/>
          <p:nvPr/>
        </p:nvGrpSpPr>
        <p:grpSpPr>
          <a:xfrm>
            <a:off x="774391" y="341630"/>
            <a:ext cx="7513952" cy="4114800"/>
            <a:chOff x="0" y="0"/>
            <a:chExt cx="3957966" cy="2167467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3957966" cy="2167467"/>
            </a:xfrm>
            <a:custGeom>
              <a:avLst/>
              <a:gdLst/>
              <a:ahLst/>
              <a:cxnLst/>
              <a:rect l="l" t="t" r="r" b="b"/>
              <a:pathLst>
                <a:path w="3957966" h="2167467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115950"/>
                  </a:lnTo>
                  <a:cubicBezTo>
                    <a:pt x="3957966" y="2144402"/>
                    <a:pt x="3934901" y="2167467"/>
                    <a:pt x="3906449" y="2167467"/>
                  </a:cubicBezTo>
                  <a:lnTo>
                    <a:pt x="51517" y="2167467"/>
                  </a:lnTo>
                  <a:cubicBezTo>
                    <a:pt x="23065" y="2167467"/>
                    <a:pt x="0" y="2144402"/>
                    <a:pt x="0" y="2115950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l-PL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3957966" cy="2205567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33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4" name="Freeform 24"/>
          <p:cNvSpPr/>
          <p:nvPr/>
        </p:nvSpPr>
        <p:spPr>
          <a:xfrm rot="2700000">
            <a:off x="-80767" y="4110229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36FEA0E9-BED9-4C86-BFE3-06083F9184FC}"/>
              </a:ext>
            </a:extLst>
          </p:cNvPr>
          <p:cNvSpPr txBox="1"/>
          <p:nvPr/>
        </p:nvSpPr>
        <p:spPr>
          <a:xfrm>
            <a:off x="1162059" y="457472"/>
            <a:ext cx="6738831" cy="5349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3985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906" b="0" i="0" u="none" strike="noStrike" kern="1200" cap="none" spc="5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Arial"/>
              </a:rPr>
              <a:t>Why and when to prototype?</a:t>
            </a:r>
          </a:p>
        </p:txBody>
      </p:sp>
      <p:sp>
        <p:nvSpPr>
          <p:cNvPr id="15" name="Freeform 2">
            <a:extLst>
              <a:ext uri="{FF2B5EF4-FFF2-40B4-BE49-F238E27FC236}">
                <a16:creationId xmlns:a16="http://schemas.microsoft.com/office/drawing/2014/main" id="{02E91B90-7226-4AD2-AEEE-4BE6A992E8EB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14D038F0-DD3D-4424-A4CC-A36754748399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13BB8FD-90B7-4301-8D45-019E2B012E4C}"/>
              </a:ext>
            </a:extLst>
          </p:cNvPr>
          <p:cNvSpPr txBox="1"/>
          <p:nvPr/>
        </p:nvSpPr>
        <p:spPr>
          <a:xfrm>
            <a:off x="774392" y="1110932"/>
            <a:ext cx="75139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Determine whether or not the idea for your product will work the way you intended, before they’re out in the world and in the hands of customers</a:t>
            </a:r>
            <a:endParaRPr lang="de-DE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3359BE4-9F89-4D7C-93B6-5674B96C63B0}"/>
              </a:ext>
            </a:extLst>
          </p:cNvPr>
          <p:cNvSpPr txBox="1"/>
          <p:nvPr/>
        </p:nvSpPr>
        <p:spPr>
          <a:xfrm>
            <a:off x="2080084" y="2194724"/>
            <a:ext cx="50920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Does it solve the problem exactly as plann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Is it customer-friendly, intuitive and effortless? </a:t>
            </a:r>
            <a:endParaRPr lang="de-DE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608B41F-5422-4D8F-83FE-3334F09319B5}"/>
              </a:ext>
            </a:extLst>
          </p:cNvPr>
          <p:cNvSpPr txBox="1"/>
          <p:nvPr/>
        </p:nvSpPr>
        <p:spPr>
          <a:xfrm>
            <a:off x="0" y="3386238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Test </a:t>
            </a:r>
            <a:r>
              <a:rPr lang="de-DE" sz="2400" b="1" dirty="0" err="1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product</a:t>
            </a:r>
            <a:r>
              <a:rPr lang="de-DE" sz="2400" b="1" dirty="0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 </a:t>
            </a:r>
            <a:r>
              <a:rPr lang="de-DE" sz="2400" b="1" dirty="0" err="1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functionality</a:t>
            </a:r>
            <a:r>
              <a:rPr lang="de-DE" sz="2400" b="1" dirty="0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, </a:t>
            </a:r>
            <a:r>
              <a:rPr lang="de-DE" sz="2400" b="1" dirty="0" err="1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appearance</a:t>
            </a:r>
            <a:r>
              <a:rPr lang="de-DE" sz="2400" b="1" dirty="0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 and </a:t>
            </a:r>
            <a:r>
              <a:rPr lang="de-DE" sz="2400" b="1" dirty="0" err="1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performance</a:t>
            </a:r>
            <a:r>
              <a:rPr lang="de-DE" sz="2400" b="1" dirty="0">
                <a:solidFill>
                  <a:schemeClr val="accent5">
                    <a:lumMod val="75000"/>
                  </a:schemeClr>
                </a:solidFill>
                <a:latin typeface="Titillium Web SemiBold" panose="00000700000000000000" pitchFamily="2" charset="0"/>
                <a:cs typeface="Calibri Light" panose="020F03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7525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6B72235-4B05-4D4C-9A6F-19594513D5B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07679" y="1036859"/>
            <a:ext cx="8521680" cy="2264626"/>
            <a:chOff x="540069" y="1608449"/>
            <a:chExt cx="11111047" cy="2952755"/>
          </a:xfrm>
        </p:grpSpPr>
        <p:sp>
          <p:nvSpPr>
            <p:cNvPr id="24" name="Gleichschenkliges Dreieck 23">
              <a:extLst>
                <a:ext uri="{FF2B5EF4-FFF2-40B4-BE49-F238E27FC236}">
                  <a16:creationId xmlns:a16="http://schemas.microsoft.com/office/drawing/2014/main" id="{6FDE54AA-7631-4CBF-ABED-38B2CEF5AF2B}"/>
                </a:ext>
              </a:extLst>
            </p:cNvPr>
            <p:cNvSpPr/>
            <p:nvPr/>
          </p:nvSpPr>
          <p:spPr bwMode="gray">
            <a:xfrm rot="16200000" flipH="1">
              <a:off x="1001842" y="2299428"/>
              <a:ext cx="1800000" cy="2723544"/>
            </a:xfrm>
            <a:prstGeom prst="triangle">
              <a:avLst/>
            </a:prstGeom>
            <a:solidFill>
              <a:srgbClr val="C8303F">
                <a:lumMod val="20000"/>
                <a:lumOff val="80000"/>
              </a:srgbClr>
            </a:solidFill>
            <a:ln w="19050" cap="flat" cmpd="sng" algn="ctr">
              <a:solidFill>
                <a:srgbClr val="C8303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" name="Gleichschenkliges Dreieck 24">
              <a:extLst>
                <a:ext uri="{FF2B5EF4-FFF2-40B4-BE49-F238E27FC236}">
                  <a16:creationId xmlns:a16="http://schemas.microsoft.com/office/drawing/2014/main" id="{98F78822-C51D-446C-8933-C858CF8A537B}"/>
                </a:ext>
              </a:extLst>
            </p:cNvPr>
            <p:cNvSpPr/>
            <p:nvPr/>
          </p:nvSpPr>
          <p:spPr bwMode="gray">
            <a:xfrm rot="16200000" flipH="1">
              <a:off x="5545075" y="2648907"/>
              <a:ext cx="1800000" cy="2024587"/>
            </a:xfrm>
            <a:prstGeom prst="triangle">
              <a:avLst/>
            </a:prstGeom>
            <a:solidFill>
              <a:srgbClr val="9BBB59">
                <a:lumMod val="20000"/>
                <a:lumOff val="80000"/>
              </a:srgbClr>
            </a:solidFill>
            <a:ln w="19050" cap="flat" cmpd="sng" algn="ctr">
              <a:solidFill>
                <a:srgbClr val="9BBB59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F0EAEBA1-BDC4-4229-AC2B-C4ECC6623F3B}"/>
                </a:ext>
              </a:extLst>
            </p:cNvPr>
            <p:cNvGrpSpPr/>
            <p:nvPr/>
          </p:nvGrpSpPr>
          <p:grpSpPr bwMode="gray">
            <a:xfrm>
              <a:off x="540070" y="1872000"/>
              <a:ext cx="11111046" cy="2689204"/>
              <a:chOff x="540070" y="1872000"/>
              <a:chExt cx="11111046" cy="509335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D5E160D2-D127-4A40-AC85-62B50FFA79F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40070" y="1872000"/>
                <a:ext cx="0" cy="3409200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9AE28A96-FE10-4BC4-905A-B311468A91D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299758" y="1872000"/>
                <a:ext cx="0" cy="5093352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A162F015-F8D6-48D5-86D1-FFED14C88F8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396635" y="1872000"/>
                <a:ext cx="0" cy="3409200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908055F4-2C1E-437E-A745-2AA233F6E06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493513" y="1872000"/>
                <a:ext cx="0" cy="5093344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19F40D6E-CC5C-4A87-BD9E-3CD46D0031C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1651116" y="1872000"/>
                <a:ext cx="0" cy="3409200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5016DD75-7EFE-474E-BEF8-C8AFAE90197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9590242" y="1872000"/>
                <a:ext cx="0" cy="4226222"/>
              </a:xfrm>
              <a:prstGeom prst="line">
                <a:avLst/>
              </a:prstGeom>
              <a:noFill/>
              <a:ln w="19050" cap="rnd">
                <a:solidFill>
                  <a:sysClr val="window" lastClr="FFFFFF">
                    <a:lumMod val="65000"/>
                  </a:sysClr>
                </a:solidFill>
                <a:prstDash val="sysDot"/>
                <a:round/>
                <a:headEnd/>
                <a:tailEnd type="none"/>
              </a:ln>
            </p:spPr>
          </p:cxnSp>
        </p:grpSp>
        <p:sp>
          <p:nvSpPr>
            <p:cNvPr id="27" name="Gleichschenkliges Dreieck 26">
              <a:extLst>
                <a:ext uri="{FF2B5EF4-FFF2-40B4-BE49-F238E27FC236}">
                  <a16:creationId xmlns:a16="http://schemas.microsoft.com/office/drawing/2014/main" id="{9895906E-DD7D-4B4E-8C31-0288EED60863}"/>
                </a:ext>
              </a:extLst>
            </p:cNvPr>
            <p:cNvSpPr/>
            <p:nvPr/>
          </p:nvSpPr>
          <p:spPr bwMode="gray">
            <a:xfrm rot="5400000">
              <a:off x="3448197" y="2648907"/>
              <a:ext cx="1800000" cy="2024587"/>
            </a:xfrm>
            <a:prstGeom prst="triangle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A67D363E-D9DB-48CC-B3C4-77619BDCB317}"/>
                </a:ext>
              </a:extLst>
            </p:cNvPr>
            <p:cNvSpPr/>
            <p:nvPr/>
          </p:nvSpPr>
          <p:spPr bwMode="gray">
            <a:xfrm rot="5400000">
              <a:off x="7641950" y="2648911"/>
              <a:ext cx="1800000" cy="2024585"/>
            </a:xfrm>
            <a:custGeom>
              <a:avLst/>
              <a:gdLst>
                <a:gd name="connsiteX0" fmla="*/ 0 w 1800000"/>
                <a:gd name="connsiteY0" fmla="*/ 2024585 h 2024585"/>
                <a:gd name="connsiteX1" fmla="*/ 442107 w 1800000"/>
                <a:gd name="connsiteY1" fmla="*/ 0 h 2024585"/>
                <a:gd name="connsiteX2" fmla="*/ 1357893 w 1800000"/>
                <a:gd name="connsiteY2" fmla="*/ 0 h 2024585"/>
                <a:gd name="connsiteX3" fmla="*/ 1800000 w 1800000"/>
                <a:gd name="connsiteY3" fmla="*/ 2024585 h 2024585"/>
                <a:gd name="connsiteX4" fmla="*/ 0 w 1800000"/>
                <a:gd name="connsiteY4" fmla="*/ 2024585 h 2024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00" h="2024585">
                  <a:moveTo>
                    <a:pt x="0" y="2024585"/>
                  </a:moveTo>
                  <a:lnTo>
                    <a:pt x="442107" y="0"/>
                  </a:lnTo>
                  <a:lnTo>
                    <a:pt x="1357893" y="0"/>
                  </a:lnTo>
                  <a:lnTo>
                    <a:pt x="1800000" y="2024585"/>
                  </a:lnTo>
                  <a:lnTo>
                    <a:pt x="0" y="2024585"/>
                  </a:lnTo>
                  <a:close/>
                </a:path>
              </a:pathLst>
            </a:custGeom>
            <a:solidFill>
              <a:srgbClr val="3498DB">
                <a:lumMod val="20000"/>
                <a:lumOff val="80000"/>
              </a:srgbClr>
            </a:solidFill>
            <a:ln w="19050" cap="flat" cmpd="sng" algn="ctr">
              <a:solidFill>
                <a:srgbClr val="3498DB"/>
              </a:solidFill>
              <a:prstDash val="solid"/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A363F4-5475-4D3D-B9BC-E786D435CDB2}"/>
                </a:ext>
              </a:extLst>
            </p:cNvPr>
            <p:cNvSpPr/>
            <p:nvPr/>
          </p:nvSpPr>
          <p:spPr bwMode="gray">
            <a:xfrm rot="5400000">
              <a:off x="10196509" y="2648767"/>
              <a:ext cx="884340" cy="2024873"/>
            </a:xfrm>
            <a:custGeom>
              <a:avLst/>
              <a:gdLst>
                <a:gd name="connsiteX0" fmla="*/ 0 w 884340"/>
                <a:gd name="connsiteY0" fmla="*/ 2024873 h 2024873"/>
                <a:gd name="connsiteX1" fmla="*/ 442170 w 884340"/>
                <a:gd name="connsiteY1" fmla="*/ 0 h 2024873"/>
                <a:gd name="connsiteX2" fmla="*/ 884340 w 884340"/>
                <a:gd name="connsiteY2" fmla="*/ 2024873 h 2024873"/>
                <a:gd name="connsiteX3" fmla="*/ 0 w 884340"/>
                <a:gd name="connsiteY3" fmla="*/ 2024873 h 202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340" h="2024873">
                  <a:moveTo>
                    <a:pt x="0" y="2024873"/>
                  </a:moveTo>
                  <a:lnTo>
                    <a:pt x="442170" y="0"/>
                  </a:lnTo>
                  <a:lnTo>
                    <a:pt x="884340" y="2024873"/>
                  </a:lnTo>
                  <a:lnTo>
                    <a:pt x="0" y="2024873"/>
                  </a:lnTo>
                  <a:close/>
                </a:path>
              </a:pathLst>
            </a:custGeom>
            <a:solidFill>
              <a:srgbClr val="3498DB">
                <a:lumMod val="20000"/>
                <a:lumOff val="80000"/>
              </a:srgbClr>
            </a:solidFill>
            <a:ln w="19050" cap="flat" cmpd="sng" algn="ctr">
              <a:solidFill>
                <a:srgbClr val="3498DB"/>
              </a:solidFill>
              <a:prstDash val="solid"/>
            </a:ln>
            <a:effectLst/>
          </p:spPr>
          <p:txBody>
            <a:bodyPr wrap="square" lIns="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Text Box">
              <a:extLst>
                <a:ext uri="{FF2B5EF4-FFF2-40B4-BE49-F238E27FC236}">
                  <a16:creationId xmlns:a16="http://schemas.microsoft.com/office/drawing/2014/main" id="{A25A4674-095B-4D6A-818A-4B33CDC5503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531320" y="3481200"/>
              <a:ext cx="1440000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pathy</a:t>
              </a:r>
            </a:p>
          </p:txBody>
        </p:sp>
        <p:sp>
          <p:nvSpPr>
            <p:cNvPr id="31" name="Text Box">
              <a:extLst>
                <a:ext uri="{FF2B5EF4-FFF2-40B4-BE49-F238E27FC236}">
                  <a16:creationId xmlns:a16="http://schemas.microsoft.com/office/drawing/2014/main" id="{B3BA55FB-B7E5-49DA-8D58-41E883F0BB2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40069" y="1608450"/>
              <a:ext cx="2096874" cy="10800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80000" tIns="0" rIns="0" bIns="0" anchor="t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Bebas Neue" panose="020B0506020202020201" pitchFamily="34" charset="0"/>
                  <a:ea typeface="+mn-ea"/>
                  <a:cs typeface="+mn-cs"/>
                </a:rPr>
                <a:t>Understand</a:t>
              </a:r>
            </a:p>
            <a:p>
              <a:pPr marL="0" marR="0" lvl="0" indent="0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Understanding ends in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</a:t>
              </a:r>
            </a:p>
          </p:txBody>
        </p:sp>
        <p:sp>
          <p:nvSpPr>
            <p:cNvPr id="32" name="Text Box">
              <a:extLst>
                <a:ext uri="{FF2B5EF4-FFF2-40B4-BE49-F238E27FC236}">
                  <a16:creationId xmlns:a16="http://schemas.microsoft.com/office/drawing/2014/main" id="{393A18AA-1EB0-47CC-9095-040C6FE38A0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396636" y="1608450"/>
              <a:ext cx="2132734" cy="10800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80000" tIns="0" rIns="0" bIns="0" anchor="t" anchorCtr="0">
              <a:noAutofit/>
            </a:bodyPr>
            <a:lstStyle/>
            <a:p>
              <a:pPr marL="0" marR="0" lvl="0" indent="0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F6228"/>
                  </a:solidFill>
                  <a:effectLst/>
                  <a:uLnTx/>
                  <a:uFillTx/>
                  <a:latin typeface="Bebas Neue" panose="020B0506020202020201" pitchFamily="34" charset="0"/>
                  <a:ea typeface="+mn-ea"/>
                  <a:cs typeface="+mn-cs"/>
                </a:rPr>
                <a:t>       IDEATE</a:t>
              </a:r>
            </a:p>
            <a:p>
              <a:pPr marL="0" marR="0" lvl="0" indent="0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F6228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Generation of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F62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eas</a:t>
              </a:r>
            </a:p>
          </p:txBody>
        </p:sp>
        <p:sp>
          <p:nvSpPr>
            <p:cNvPr id="33" name="Text Box">
              <a:extLst>
                <a:ext uri="{FF2B5EF4-FFF2-40B4-BE49-F238E27FC236}">
                  <a16:creationId xmlns:a16="http://schemas.microsoft.com/office/drawing/2014/main" id="{776D26C5-5561-4C69-9063-70C7AE832EB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347944" y="1608449"/>
              <a:ext cx="2438578" cy="10800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80000" tIns="0" rIns="0" bIns="0" anchor="t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Bebas Neue" panose="020B0506020202020201" pitchFamily="34" charset="0"/>
                  <a:ea typeface="+mn-ea"/>
                  <a:cs typeface="+mn-cs"/>
                </a:rPr>
                <a:t>Deliver</a:t>
              </a:r>
            </a:p>
            <a:p>
              <a:pPr marL="0" marR="0" lvl="0" indent="0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reation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and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experimentation 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Text Box">
              <a:extLst>
                <a:ext uri="{FF2B5EF4-FFF2-40B4-BE49-F238E27FC236}">
                  <a16:creationId xmlns:a16="http://schemas.microsoft.com/office/drawing/2014/main" id="{4321E7CA-E3A9-41EE-8748-5997427B8A0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348083" y="3481200"/>
              <a:ext cx="1440000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fine</a:t>
              </a:r>
            </a:p>
          </p:txBody>
        </p:sp>
        <p:sp>
          <p:nvSpPr>
            <p:cNvPr id="35" name="Text Box">
              <a:extLst>
                <a:ext uri="{FF2B5EF4-FFF2-40B4-BE49-F238E27FC236}">
                  <a16:creationId xmlns:a16="http://schemas.microsoft.com/office/drawing/2014/main" id="{20FACCCF-60F4-4A48-92FC-DD7974A2C14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17399" y="3481200"/>
              <a:ext cx="1440000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eate</a:t>
              </a:r>
            </a:p>
          </p:txBody>
        </p:sp>
        <p:sp>
          <p:nvSpPr>
            <p:cNvPr id="36" name="Text Box">
              <a:extLst>
                <a:ext uri="{FF2B5EF4-FFF2-40B4-BE49-F238E27FC236}">
                  <a16:creationId xmlns:a16="http://schemas.microsoft.com/office/drawing/2014/main" id="{6216A11F-5899-46AE-B429-81DA76E34B8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821950" y="3481200"/>
              <a:ext cx="1440000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totype</a:t>
              </a:r>
            </a:p>
          </p:txBody>
        </p:sp>
        <p:sp>
          <p:nvSpPr>
            <p:cNvPr id="37" name="Text Box">
              <a:extLst>
                <a:ext uri="{FF2B5EF4-FFF2-40B4-BE49-F238E27FC236}">
                  <a16:creationId xmlns:a16="http://schemas.microsoft.com/office/drawing/2014/main" id="{184225CF-AE9A-4C99-A2A7-AD9DF714722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509116" y="3481200"/>
              <a:ext cx="1440000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80176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rgbClr val="3399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st</a:t>
              </a:r>
            </a:p>
          </p:txBody>
        </p:sp>
      </p:grpSp>
      <p:sp>
        <p:nvSpPr>
          <p:cNvPr id="44" name="Freeform 2">
            <a:extLst>
              <a:ext uri="{FF2B5EF4-FFF2-40B4-BE49-F238E27FC236}">
                <a16:creationId xmlns:a16="http://schemas.microsoft.com/office/drawing/2014/main" id="{72917699-7283-4585-BC7B-AB1C0BD92B55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5" name="Freeform 3">
            <a:extLst>
              <a:ext uri="{FF2B5EF4-FFF2-40B4-BE49-F238E27FC236}">
                <a16:creationId xmlns:a16="http://schemas.microsoft.com/office/drawing/2014/main" id="{30B7779F-EA28-4C73-AD18-0608355A8E45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6" name="Google Shape;462;p41">
            <a:extLst>
              <a:ext uri="{FF2B5EF4-FFF2-40B4-BE49-F238E27FC236}">
                <a16:creationId xmlns:a16="http://schemas.microsoft.com/office/drawing/2014/main" id="{7C2A8991-8FD0-4835-82EF-A1EC2F68164E}"/>
              </a:ext>
            </a:extLst>
          </p:cNvPr>
          <p:cNvSpPr txBox="1">
            <a:spLocks/>
          </p:cNvSpPr>
          <p:nvPr/>
        </p:nvSpPr>
        <p:spPr>
          <a:xfrm>
            <a:off x="0" y="244002"/>
            <a:ext cx="9143999" cy="61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Clr>
                <a:schemeClr val="dk1"/>
              </a:buClr>
              <a:buSzPts val="3600"/>
              <a:buFont typeface="Poppins ExtraBold"/>
              <a:buNone/>
              <a:defRPr sz="25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Poppins ExtraBold"/>
              </a:defRPr>
            </a:lvl1pPr>
            <a:lvl2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algn="ctr">
              <a:buClr>
                <a:schemeClr val="dk1"/>
              </a:buClr>
              <a:buSzPts val="3600"/>
              <a:buFont typeface="Poppins ExtraBold"/>
              <a:buNone/>
              <a:defRPr sz="36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r>
              <a:rPr lang="en-GB" sz="3500" dirty="0">
                <a:solidFill>
                  <a:srgbClr val="7030A0"/>
                </a:solidFill>
                <a:sym typeface="Titillium Web"/>
              </a:rPr>
              <a:t>Prototyping</a:t>
            </a:r>
            <a:endParaRPr lang="en-US" dirty="0">
              <a:solidFill>
                <a:srgbClr val="7030A0"/>
              </a:solidFill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70A2D986-8115-4BF4-9D7B-8B9D1D1598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335" y="3357275"/>
            <a:ext cx="2156160" cy="1115813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02B91C69-2FF6-4318-A162-3D5846568C3F}"/>
              </a:ext>
            </a:extLst>
          </p:cNvPr>
          <p:cNvSpPr txBox="1"/>
          <p:nvPr/>
        </p:nvSpPr>
        <p:spPr>
          <a:xfrm>
            <a:off x="3032589" y="3051254"/>
            <a:ext cx="168919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7030A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at?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7030A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y?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7030A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w?</a:t>
            </a:r>
            <a:endParaRPr lang="de-DE" sz="1000" b="1" dirty="0">
              <a:solidFill>
                <a:srgbClr val="7030A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8AB1C2C8-2DAE-49E2-99E1-CCDD92F350E6}"/>
              </a:ext>
            </a:extLst>
          </p:cNvPr>
          <p:cNvSpPr txBox="1"/>
          <p:nvPr/>
        </p:nvSpPr>
        <p:spPr>
          <a:xfrm>
            <a:off x="4187893" y="3051254"/>
            <a:ext cx="1689196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3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WOT analysis</a:t>
            </a:r>
          </a:p>
          <a:p>
            <a:pPr marL="171450" indent="-1714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3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ST analysis </a:t>
            </a:r>
          </a:p>
          <a:p>
            <a:pPr marL="171450" indent="-1714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3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coring matrices </a:t>
            </a:r>
          </a:p>
          <a:p>
            <a:pPr marL="171450" indent="-1714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3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compare and rank your ideas</a:t>
            </a:r>
            <a:endParaRPr lang="de-DE" sz="1000" b="1" dirty="0">
              <a:solidFill>
                <a:schemeClr val="accent3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E624506-4D39-4FE5-861F-95241509345D}"/>
              </a:ext>
            </a:extLst>
          </p:cNvPr>
          <p:cNvSpPr txBox="1"/>
          <p:nvPr/>
        </p:nvSpPr>
        <p:spPr>
          <a:xfrm>
            <a:off x="7352509" y="3051254"/>
            <a:ext cx="168919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3399FF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48A3F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fining the product based on customer feedback</a:t>
            </a:r>
            <a:endParaRPr lang="de-DE" sz="1000" b="1" dirty="0">
              <a:solidFill>
                <a:srgbClr val="48A3FE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630DFA32-C7CF-45D1-AD1E-B06887759F5F}"/>
              </a:ext>
            </a:extLst>
          </p:cNvPr>
          <p:cNvSpPr txBox="1"/>
          <p:nvPr/>
        </p:nvSpPr>
        <p:spPr>
          <a:xfrm>
            <a:off x="2594734" y="1322983"/>
            <a:ext cx="1509994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017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 Light"/>
                <a:ea typeface="+mn-ea"/>
                <a:cs typeface="Arial"/>
                <a:sym typeface="Arial"/>
              </a:rPr>
              <a:t>Figuring out th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Problem</a:t>
            </a:r>
          </a:p>
        </p:txBody>
      </p:sp>
    </p:spTree>
    <p:extLst>
      <p:ext uri="{BB962C8B-B14F-4D97-AF65-F5344CB8AC3E}">
        <p14:creationId xmlns:p14="http://schemas.microsoft.com/office/powerpoint/2010/main" val="2821711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7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reeform 2">
            <a:extLst>
              <a:ext uri="{FF2B5EF4-FFF2-40B4-BE49-F238E27FC236}">
                <a16:creationId xmlns:a16="http://schemas.microsoft.com/office/drawing/2014/main" id="{F35F5313-2FC3-4FF3-B38D-8A69A29AF9FA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5" name="Freeform 3">
            <a:extLst>
              <a:ext uri="{FF2B5EF4-FFF2-40B4-BE49-F238E27FC236}">
                <a16:creationId xmlns:a16="http://schemas.microsoft.com/office/drawing/2014/main" id="{C18ECF39-E6DC-4F86-838F-8D1F16C22E9D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27" name="Google Shape;396;p36">
            <a:extLst>
              <a:ext uri="{FF2B5EF4-FFF2-40B4-BE49-F238E27FC236}">
                <a16:creationId xmlns:a16="http://schemas.microsoft.com/office/drawing/2014/main" id="{8BE5D2C7-0C0C-4927-B690-EA962DAAFEF4}"/>
              </a:ext>
            </a:extLst>
          </p:cNvPr>
          <p:cNvSpPr txBox="1">
            <a:spLocks/>
          </p:cNvSpPr>
          <p:nvPr/>
        </p:nvSpPr>
        <p:spPr>
          <a:xfrm>
            <a:off x="0" y="220270"/>
            <a:ext cx="9144000" cy="648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en-GB" sz="3500" dirty="0">
                <a:solidFill>
                  <a:schemeClr val="bg1"/>
                </a:solidFill>
                <a:latin typeface="Titillium Web" panose="00000500000000000000" pitchFamily="2" charset="0"/>
              </a:rPr>
              <a:t>Different prototyping techniques </a:t>
            </a:r>
            <a:endParaRPr lang="en-US" dirty="0">
              <a:solidFill>
                <a:schemeClr val="bg1"/>
              </a:solidFill>
              <a:latin typeface="Titillium Web" panose="00000500000000000000" pitchFamily="2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461D721-0411-4EED-9C87-F81B5C907636}"/>
              </a:ext>
            </a:extLst>
          </p:cNvPr>
          <p:cNvSpPr txBox="1"/>
          <p:nvPr/>
        </p:nvSpPr>
        <p:spPr>
          <a:xfrm>
            <a:off x="1119183" y="1030482"/>
            <a:ext cx="59034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Titillium Web" panose="00000500000000000000" pitchFamily="2" charset="0"/>
                <a:cs typeface="Calibri Light" panose="020F0302020204030204" pitchFamily="34" charset="0"/>
              </a:rPr>
              <a:t>Storyboarding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Titillium Web" panose="00000500000000000000" pitchFamily="2" charset="0"/>
                <a:cs typeface="Calibri Light" panose="020F0302020204030204" pitchFamily="34" charset="0"/>
              </a:rPr>
              <a:t>mock-up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Titillium Web" panose="00000500000000000000" pitchFamily="2" charset="0"/>
                <a:cs typeface="Calibri Light" panose="020F0302020204030204" pitchFamily="34" charset="0"/>
              </a:rPr>
              <a:t>3D modeling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Titillium Web" panose="00000500000000000000" pitchFamily="2" charset="0"/>
                <a:cs typeface="Calibri Light" panose="020F0302020204030204" pitchFamily="34" charset="0"/>
              </a:rPr>
              <a:t>description of your product that summarizes its features</a:t>
            </a:r>
            <a:endParaRPr lang="de-DE" sz="1600" b="1" dirty="0">
              <a:latin typeface="Titillium Web" panose="00000500000000000000" pitchFamily="2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DE" sz="1600" b="1" dirty="0">
              <a:effectLst/>
              <a:latin typeface="Titillium Web" panose="000005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5DFDEB1-5732-4D27-A684-6BA799376B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007" t="8644" r="19543"/>
          <a:stretch/>
        </p:blipFill>
        <p:spPr>
          <a:xfrm>
            <a:off x="327041" y="2515908"/>
            <a:ext cx="1044874" cy="157908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35DF17D-E762-47AA-BD41-474BF546A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3487" y="2515570"/>
            <a:ext cx="2370518" cy="1579083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89932027-9B49-4AB5-BB14-2EC436F081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579"/>
          <a:stretch/>
        </p:blipFill>
        <p:spPr>
          <a:xfrm>
            <a:off x="3865577" y="2515234"/>
            <a:ext cx="2676071" cy="157942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4924E88-75B7-4982-ACDD-054EAFFE5E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3220" y="2515570"/>
            <a:ext cx="2194973" cy="1579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886029"/>
      </p:ext>
    </p:extLst>
  </p:cSld>
  <p:clrMapOvr>
    <a:masterClrMapping/>
  </p:clrMapOvr>
  <p:transition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28DAA81-F2A5-4A11-A3B2-095090308B68}"/>
              </a:ext>
            </a:extLst>
          </p:cNvPr>
          <p:cNvSpPr/>
          <p:nvPr/>
        </p:nvSpPr>
        <p:spPr>
          <a:xfrm>
            <a:off x="-39742" y="0"/>
            <a:ext cx="9754409" cy="61120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Arial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E6C720-85E4-97C7-2C74-860D58A80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E6C720-85E4-97C7-2C74-860D58A80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6" name="Google Shape;396;p36"/>
          <p:cNvSpPr txBox="1">
            <a:spLocks noGrp="1"/>
          </p:cNvSpPr>
          <p:nvPr>
            <p:ph type="title"/>
          </p:nvPr>
        </p:nvSpPr>
        <p:spPr>
          <a:xfrm rot="16200000">
            <a:off x="-2858674" y="2818932"/>
            <a:ext cx="6112042" cy="474176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GB" sz="3000" dirty="0"/>
              <a:t>Prototype canvas</a:t>
            </a:r>
            <a:endParaRPr lang="en-US" sz="3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7032905-C411-4FD5-8C26-C8A2F05682E3}"/>
              </a:ext>
            </a:extLst>
          </p:cNvPr>
          <p:cNvSpPr txBox="1"/>
          <p:nvPr/>
        </p:nvSpPr>
        <p:spPr>
          <a:xfrm>
            <a:off x="2874850" y="895693"/>
            <a:ext cx="3553194" cy="169277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eources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ild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  <a:b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ou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ve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s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eeded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</a:t>
            </a:r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ime; Money &amp; People?</a:t>
            </a:r>
          </a:p>
          <a:p>
            <a:pPr defTabSz="914378"/>
            <a:endParaRPr lang="de-DE" sz="8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6B70417-8899-46CF-B90D-A871FDC36131}"/>
              </a:ext>
            </a:extLst>
          </p:cNvPr>
          <p:cNvSpPr txBox="1"/>
          <p:nvPr/>
        </p:nvSpPr>
        <p:spPr>
          <a:xfrm>
            <a:off x="6473330" y="904331"/>
            <a:ext cx="3088219" cy="320087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e</a:t>
            </a:r>
            <a:b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ild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mples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ototype possible (least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s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&amp;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terial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itical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umption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&amp;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swer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itical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estions</a:t>
            </a:r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355D76A-ABF2-4DC4-9391-966802291AA6}"/>
              </a:ext>
            </a:extLst>
          </p:cNvPr>
          <p:cNvSpPr txBox="1"/>
          <p:nvPr/>
        </p:nvSpPr>
        <p:spPr>
          <a:xfrm>
            <a:off x="434435" y="899990"/>
            <a:ext cx="2408332" cy="295465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ea typeface="+mn-ea"/>
              </a:rPr>
              <a:t>Assumptions</a:t>
            </a:r>
            <a:r>
              <a:rPr lang="de-DE" sz="1000" b="1" dirty="0">
                <a:ea typeface="+mn-ea"/>
              </a:rPr>
              <a:t> &amp; Questions:</a:t>
            </a:r>
          </a:p>
          <a:p>
            <a:pPr defTabSz="914378"/>
            <a:endParaRPr lang="de-DE" sz="1000" dirty="0">
              <a:ea typeface="+mn-ea"/>
            </a:endParaRPr>
          </a:p>
          <a:p>
            <a:pPr defTabSz="914378"/>
            <a:endParaRPr lang="de-DE" sz="1000" dirty="0">
              <a:ea typeface="+mn-ea"/>
            </a:endParaRPr>
          </a:p>
          <a:p>
            <a:pPr defTabSz="914378"/>
            <a:br>
              <a:rPr lang="de-DE" sz="800" dirty="0">
                <a:ea typeface="+mn-ea"/>
              </a:rPr>
            </a:br>
            <a:r>
              <a:rPr lang="de-DE" sz="800" i="1" dirty="0">
                <a:ea typeface="+mn-ea"/>
              </a:rPr>
              <a:t>About </a:t>
            </a:r>
            <a:r>
              <a:rPr lang="de-DE" sz="800" i="1" dirty="0" err="1">
                <a:ea typeface="+mn-ea"/>
              </a:rPr>
              <a:t>the</a:t>
            </a:r>
            <a:r>
              <a:rPr lang="de-DE" sz="800" i="1" dirty="0">
                <a:ea typeface="+mn-ea"/>
              </a:rPr>
              <a:t> </a:t>
            </a:r>
            <a:r>
              <a:rPr lang="de-DE" sz="800" i="1" dirty="0" err="1">
                <a:ea typeface="+mn-ea"/>
              </a:rPr>
              <a:t>clients</a:t>
            </a:r>
            <a:r>
              <a:rPr lang="de-DE" sz="800" i="1" dirty="0">
                <a:ea typeface="+mn-ea"/>
              </a:rPr>
              <a:t> and </a:t>
            </a:r>
            <a:r>
              <a:rPr lang="de-DE" sz="800" i="1" dirty="0" err="1">
                <a:ea typeface="+mn-ea"/>
              </a:rPr>
              <a:t>their</a:t>
            </a:r>
            <a:r>
              <a:rPr lang="de-DE" sz="800" i="1" dirty="0">
                <a:ea typeface="+mn-ea"/>
              </a:rPr>
              <a:t> </a:t>
            </a:r>
            <a:r>
              <a:rPr lang="de-DE" sz="800" i="1" dirty="0" err="1">
                <a:ea typeface="+mn-ea"/>
              </a:rPr>
              <a:t>needs</a:t>
            </a:r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r>
              <a:rPr lang="de-DE" sz="800" i="1" dirty="0">
                <a:ea typeface="+mn-ea"/>
              </a:rPr>
              <a:t>About </a:t>
            </a:r>
            <a:r>
              <a:rPr lang="de-DE" sz="800" i="1" dirty="0" err="1">
                <a:ea typeface="+mn-ea"/>
              </a:rPr>
              <a:t>technical</a:t>
            </a:r>
            <a:r>
              <a:rPr lang="de-DE" sz="800" i="1" dirty="0">
                <a:ea typeface="+mn-ea"/>
              </a:rPr>
              <a:t> </a:t>
            </a:r>
            <a:r>
              <a:rPr lang="de-DE" sz="800" i="1" dirty="0" err="1">
                <a:ea typeface="+mn-ea"/>
              </a:rPr>
              <a:t>feasibility</a:t>
            </a:r>
            <a:r>
              <a:rPr lang="de-DE" sz="800" i="1" dirty="0">
                <a:ea typeface="+mn-ea"/>
              </a:rPr>
              <a:t> &amp; </a:t>
            </a:r>
            <a:r>
              <a:rPr lang="de-DE" sz="800" i="1" dirty="0" err="1">
                <a:ea typeface="+mn-ea"/>
              </a:rPr>
              <a:t>functionality</a:t>
            </a:r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r>
              <a:rPr lang="de-DE" sz="800" i="1" dirty="0">
                <a:ea typeface="+mn-ea"/>
              </a:rPr>
              <a:t>About </a:t>
            </a:r>
            <a:r>
              <a:rPr lang="de-DE" sz="800" i="1" dirty="0" err="1">
                <a:ea typeface="+mn-ea"/>
              </a:rPr>
              <a:t>the</a:t>
            </a:r>
            <a:r>
              <a:rPr lang="de-DE" sz="800" i="1" dirty="0">
                <a:ea typeface="+mn-ea"/>
              </a:rPr>
              <a:t> </a:t>
            </a:r>
            <a:r>
              <a:rPr lang="de-DE" sz="800" i="1" dirty="0" err="1">
                <a:ea typeface="+mn-ea"/>
              </a:rPr>
              <a:t>cost</a:t>
            </a:r>
            <a:r>
              <a:rPr lang="de-DE" sz="800" i="1" dirty="0">
                <a:ea typeface="+mn-ea"/>
              </a:rPr>
              <a:t> &amp; </a:t>
            </a:r>
            <a:r>
              <a:rPr lang="de-DE" sz="800" i="1" dirty="0" err="1">
                <a:ea typeface="+mn-ea"/>
              </a:rPr>
              <a:t>business</a:t>
            </a:r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800" i="1" dirty="0">
              <a:ea typeface="+mn-ea"/>
            </a:endParaRPr>
          </a:p>
          <a:p>
            <a:pPr defTabSz="914378"/>
            <a:endParaRPr lang="de-DE" sz="1000" i="1" dirty="0">
              <a:ea typeface="+mn-ea"/>
            </a:endParaRPr>
          </a:p>
          <a:p>
            <a:pPr defTabSz="914378"/>
            <a:endParaRPr lang="de-DE" sz="1000" i="1" dirty="0">
              <a:ea typeface="+mn-ea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D99FC2-272B-4596-95C2-245A9DF9C344}"/>
              </a:ext>
            </a:extLst>
          </p:cNvPr>
          <p:cNvSpPr txBox="1"/>
          <p:nvPr/>
        </p:nvSpPr>
        <p:spPr>
          <a:xfrm>
            <a:off x="6471352" y="4129151"/>
            <a:ext cx="3088219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cces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en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</a:t>
            </a:r>
          </a:p>
          <a:p>
            <a:pPr defTabSz="914378"/>
            <a:endParaRPr lang="de-DE" sz="2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3AB14B-EBAE-4C42-8E9A-8F50A3CE3319}"/>
              </a:ext>
            </a:extLst>
          </p:cNvPr>
          <p:cNvSpPr txBox="1"/>
          <p:nvPr/>
        </p:nvSpPr>
        <p:spPr>
          <a:xfrm>
            <a:off x="6471352" y="4740957"/>
            <a:ext cx="3088219" cy="55399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aling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act</a:t>
            </a:r>
            <a:endParaRPr lang="de-DE" sz="10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A8C43A6-C3BA-48A6-8FAF-672CF2D7A7CC}"/>
              </a:ext>
            </a:extLst>
          </p:cNvPr>
          <p:cNvSpPr txBox="1"/>
          <p:nvPr/>
        </p:nvSpPr>
        <p:spPr>
          <a:xfrm>
            <a:off x="434435" y="172498"/>
            <a:ext cx="2412691" cy="70788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>
                <a:ea typeface="+mn-ea"/>
              </a:rPr>
              <a:t>Problem / </a:t>
            </a:r>
            <a:r>
              <a:rPr lang="de-DE" sz="1000" b="1" dirty="0" err="1">
                <a:ea typeface="+mn-ea"/>
              </a:rPr>
              <a:t>Opportunity</a:t>
            </a:r>
            <a:endParaRPr lang="de-DE" sz="1000" b="1" dirty="0">
              <a:ea typeface="+mn-ea"/>
            </a:endParaRPr>
          </a:p>
          <a:p>
            <a:pPr defTabSz="914378"/>
            <a:endParaRPr lang="de-DE" sz="1000" b="1" dirty="0">
              <a:ea typeface="+mn-ea"/>
            </a:endParaRPr>
          </a:p>
          <a:p>
            <a:pPr defTabSz="914378"/>
            <a:endParaRPr lang="de-DE" sz="1000" dirty="0">
              <a:ea typeface="+mn-ea"/>
            </a:endParaRPr>
          </a:p>
          <a:p>
            <a:pPr defTabSz="914378"/>
            <a:endParaRPr lang="de-DE" sz="1000" dirty="0">
              <a:ea typeface="+mn-ea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39AAE83-83CB-4D07-93B0-658FDB8044DA}"/>
              </a:ext>
            </a:extLst>
          </p:cNvPr>
          <p:cNvSpPr txBox="1"/>
          <p:nvPr/>
        </p:nvSpPr>
        <p:spPr>
          <a:xfrm>
            <a:off x="2874851" y="172498"/>
            <a:ext cx="1818637" cy="70788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lution / Concept?</a:t>
            </a:r>
          </a:p>
          <a:p>
            <a:pPr defTabSz="914378"/>
            <a:endParaRPr lang="de-DE" sz="10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38090EE-C1BC-4995-A884-4063124D589E}"/>
              </a:ext>
            </a:extLst>
          </p:cNvPr>
          <p:cNvSpPr txBox="1"/>
          <p:nvPr/>
        </p:nvSpPr>
        <p:spPr>
          <a:xfrm>
            <a:off x="2873790" y="5517481"/>
            <a:ext cx="3553194" cy="55399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PI‘s</a:t>
            </a:r>
            <a:endParaRPr lang="de-DE" sz="10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75625B-1444-41A8-B114-AEA1A66044E9}"/>
              </a:ext>
            </a:extLst>
          </p:cNvPr>
          <p:cNvSpPr txBox="1"/>
          <p:nvPr/>
        </p:nvSpPr>
        <p:spPr>
          <a:xfrm>
            <a:off x="6464611" y="172501"/>
            <a:ext cx="3101225" cy="70788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indent="133350" defTabSz="914378"/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munications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egy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for prototype?</a:t>
            </a:r>
            <a: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‘</a:t>
            </a:r>
            <a:b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</a:t>
            </a:r>
            <a:r>
              <a:rPr lang="de-DE" sz="5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LAIN</a:t>
            </a:r>
          </a:p>
          <a:p>
            <a:pPr indent="66675" defTabSz="914378"/>
            <a:r>
              <a:rPr lang="de-DE" sz="5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FEEDBACK</a:t>
            </a:r>
          </a:p>
          <a:p>
            <a:pPr indent="66675" defTabSz="914378"/>
            <a:r>
              <a:rPr lang="de-DE" sz="5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NEGOTIATE</a:t>
            </a:r>
          </a:p>
          <a:p>
            <a:pPr indent="66675" defTabSz="914378"/>
            <a:r>
              <a:rPr lang="de-DE" sz="5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PERSUADE</a:t>
            </a:r>
          </a:p>
          <a:p>
            <a:pPr indent="66675" defTabSz="914378"/>
            <a:endParaRPr lang="de-DE" sz="5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7E0A4AD-2F40-48CE-8454-7C71C26A8B4C}"/>
              </a:ext>
            </a:extLst>
          </p:cNvPr>
          <p:cNvSpPr txBox="1"/>
          <p:nvPr/>
        </p:nvSpPr>
        <p:spPr>
          <a:xfrm>
            <a:off x="4717868" y="172498"/>
            <a:ext cx="1710177" cy="70788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keholders</a:t>
            </a: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D7C12C-CFB5-4216-B214-338D0A4250DB}"/>
              </a:ext>
            </a:extLst>
          </p:cNvPr>
          <p:cNvSpPr txBox="1"/>
          <p:nvPr/>
        </p:nvSpPr>
        <p:spPr>
          <a:xfrm>
            <a:off x="434042" y="3874250"/>
            <a:ext cx="2408725" cy="160043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itical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umptions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&amp; Questions</a:t>
            </a:r>
          </a:p>
          <a:p>
            <a:pPr defTabSz="914378"/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s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itical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cces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c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</a:t>
            </a:r>
          </a:p>
          <a:p>
            <a:pPr defTabSz="914378"/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6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835B1C-FFE3-41CF-8D64-8DABDC5F9323}"/>
              </a:ext>
            </a:extLst>
          </p:cNvPr>
          <p:cNvSpPr txBox="1"/>
          <p:nvPr/>
        </p:nvSpPr>
        <p:spPr>
          <a:xfrm>
            <a:off x="6471351" y="5318900"/>
            <a:ext cx="3088219" cy="754053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sights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ined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m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ing</a:t>
            </a:r>
            <a:r>
              <a:rPr lang="de-DE" sz="1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</a:p>
          <a:p>
            <a:pPr defTabSz="914378"/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d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ou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arn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d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ou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fully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swer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estion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 </a:t>
            </a: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5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4CB2ED1-FFB7-4381-A916-574B827E24B2}"/>
              </a:ext>
            </a:extLst>
          </p:cNvPr>
          <p:cNvSpPr txBox="1"/>
          <p:nvPr/>
        </p:nvSpPr>
        <p:spPr>
          <a:xfrm>
            <a:off x="2874850" y="2595307"/>
            <a:ext cx="3552134" cy="100027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ing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ach</a:t>
            </a:r>
            <a:endParaRPr lang="de-DE" sz="10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9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1"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Parallel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ing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	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quential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ing</a:t>
            </a:r>
            <a:endParaRPr lang="de-DE" sz="8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1"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Experience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ing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aling</a:t>
            </a:r>
            <a:endParaRPr lang="de-DE" sz="8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1"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le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ying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	Remove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essential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lang="de-DE" sz="8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1"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quirements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laxation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Re-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urpose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isting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duct</a:t>
            </a:r>
            <a:endParaRPr lang="de-DE" sz="8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1" defTabSz="914378"/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Paper </a:t>
            </a:r>
            <a:r>
              <a:rPr lang="de-DE" sz="8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totyping</a:t>
            </a:r>
            <a:r>
              <a:rPr lang="de-DE" sz="8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	Other:  …………………………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03549EA-88FD-4F82-B775-E311943AB39C}"/>
              </a:ext>
            </a:extLst>
          </p:cNvPr>
          <p:cNvSpPr txBox="1"/>
          <p:nvPr/>
        </p:nvSpPr>
        <p:spPr>
          <a:xfrm>
            <a:off x="2875911" y="3602424"/>
            <a:ext cx="3552134" cy="190821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defTabSz="914378"/>
            <a:r>
              <a:rPr lang="de-DE" sz="1000" b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ing</a:t>
            </a:r>
            <a:r>
              <a:rPr lang="de-DE" sz="10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lan</a:t>
            </a:r>
            <a:endParaRPr lang="de-DE" sz="800" b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ou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ing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</a:t>
            </a: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trics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e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eeded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? / Qualitative / Quantitative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esment</a:t>
            </a:r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ime, Place, Materials &amp; People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quired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</a:t>
            </a:r>
            <a:r>
              <a:rPr lang="de-DE" sz="800" i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800" i="1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</a:t>
            </a:r>
            <a:endParaRPr lang="de-DE" sz="8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2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4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defTabSz="914378"/>
            <a:endParaRPr lang="de-DE" sz="1000" i="1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8DE0D7F6-43DC-4461-AFBA-29A5AC61567A}"/>
              </a:ext>
            </a:extLst>
          </p:cNvPr>
          <p:cNvSpPr/>
          <p:nvPr/>
        </p:nvSpPr>
        <p:spPr>
          <a:xfrm>
            <a:off x="6523868" y="441542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DF6C1D6-577C-4505-8C23-6B364879748E}"/>
              </a:ext>
            </a:extLst>
          </p:cNvPr>
          <p:cNvSpPr/>
          <p:nvPr/>
        </p:nvSpPr>
        <p:spPr>
          <a:xfrm>
            <a:off x="6523868" y="530507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DD83462-DC0B-4E82-A32C-DA1136D49ABD}"/>
              </a:ext>
            </a:extLst>
          </p:cNvPr>
          <p:cNvSpPr/>
          <p:nvPr/>
        </p:nvSpPr>
        <p:spPr>
          <a:xfrm>
            <a:off x="6523867" y="609314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69E689E-EC59-44B1-9F52-8A915648A55A}"/>
              </a:ext>
            </a:extLst>
          </p:cNvPr>
          <p:cNvSpPr/>
          <p:nvPr/>
        </p:nvSpPr>
        <p:spPr>
          <a:xfrm>
            <a:off x="6526328" y="692201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5E51471-83E9-4181-9D27-1BD5F03124A2}"/>
              </a:ext>
            </a:extLst>
          </p:cNvPr>
          <p:cNvSpPr/>
          <p:nvPr/>
        </p:nvSpPr>
        <p:spPr>
          <a:xfrm>
            <a:off x="4694535" y="2932978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972B888-7057-4EED-AF25-AB8418D37BCB}"/>
              </a:ext>
            </a:extLst>
          </p:cNvPr>
          <p:cNvSpPr/>
          <p:nvPr/>
        </p:nvSpPr>
        <p:spPr>
          <a:xfrm>
            <a:off x="4694535" y="3055810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B7220CD-C02C-4F62-9C39-CE0876FC82A5}"/>
              </a:ext>
            </a:extLst>
          </p:cNvPr>
          <p:cNvSpPr/>
          <p:nvPr/>
        </p:nvSpPr>
        <p:spPr>
          <a:xfrm>
            <a:off x="4694533" y="3307033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83F48CDD-0C97-463A-A1F4-553A7B4CCDCD}"/>
              </a:ext>
            </a:extLst>
          </p:cNvPr>
          <p:cNvSpPr/>
          <p:nvPr/>
        </p:nvSpPr>
        <p:spPr>
          <a:xfrm>
            <a:off x="4696995" y="3433021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8D27D10D-6A23-4095-886F-9C14163B7FCA}"/>
              </a:ext>
            </a:extLst>
          </p:cNvPr>
          <p:cNvSpPr/>
          <p:nvPr/>
        </p:nvSpPr>
        <p:spPr>
          <a:xfrm>
            <a:off x="4696069" y="3176182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E6DFB337-BE1F-4051-8B63-EF358CCC8015}"/>
              </a:ext>
            </a:extLst>
          </p:cNvPr>
          <p:cNvSpPr/>
          <p:nvPr/>
        </p:nvSpPr>
        <p:spPr>
          <a:xfrm>
            <a:off x="2915253" y="2934497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F842BD1A-AFB3-46A7-A6A8-566ED27D9C65}"/>
              </a:ext>
            </a:extLst>
          </p:cNvPr>
          <p:cNvSpPr/>
          <p:nvPr/>
        </p:nvSpPr>
        <p:spPr>
          <a:xfrm>
            <a:off x="2915253" y="3057331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4678CBFD-453C-4EA7-BC10-3338E51B0FFA}"/>
              </a:ext>
            </a:extLst>
          </p:cNvPr>
          <p:cNvSpPr/>
          <p:nvPr/>
        </p:nvSpPr>
        <p:spPr>
          <a:xfrm>
            <a:off x="2915252" y="3308552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47FB9BB0-984E-4449-9206-5BFDB3C097B5}"/>
              </a:ext>
            </a:extLst>
          </p:cNvPr>
          <p:cNvSpPr/>
          <p:nvPr/>
        </p:nvSpPr>
        <p:spPr>
          <a:xfrm>
            <a:off x="2917713" y="3434542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663BA905-A74A-40E4-B7CF-225F9B46F569}"/>
              </a:ext>
            </a:extLst>
          </p:cNvPr>
          <p:cNvSpPr/>
          <p:nvPr/>
        </p:nvSpPr>
        <p:spPr>
          <a:xfrm>
            <a:off x="2916788" y="3177701"/>
            <a:ext cx="45719" cy="45719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de-DE">
              <a:solidFill>
                <a:srgbClr val="DAE3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1" name="Google Shape;66;p15">
            <a:extLst>
              <a:ext uri="{FF2B5EF4-FFF2-40B4-BE49-F238E27FC236}">
                <a16:creationId xmlns:a16="http://schemas.microsoft.com/office/drawing/2014/main" id="{6278DF76-9A20-440D-9EB9-49F49C4E4E00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34435" y="5580776"/>
            <a:ext cx="2376401" cy="410753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Freeform 5">
            <a:extLst>
              <a:ext uri="{FF2B5EF4-FFF2-40B4-BE49-F238E27FC236}">
                <a16:creationId xmlns:a16="http://schemas.microsoft.com/office/drawing/2014/main" id="{09E47437-6B1B-47D2-A688-85C1185E4149}"/>
              </a:ext>
            </a:extLst>
          </p:cNvPr>
          <p:cNvSpPr/>
          <p:nvPr/>
        </p:nvSpPr>
        <p:spPr>
          <a:xfrm rot="16405971">
            <a:off x="-437144" y="4982146"/>
            <a:ext cx="1179996" cy="405834"/>
          </a:xfrm>
          <a:custGeom>
            <a:avLst/>
            <a:gdLst/>
            <a:ahLst/>
            <a:cxnLst/>
            <a:rect l="l" t="t" r="r" b="b"/>
            <a:pathLst>
              <a:path w="4583229" h="1931935">
                <a:moveTo>
                  <a:pt x="0" y="0"/>
                </a:moveTo>
                <a:lnTo>
                  <a:pt x="4583229" y="0"/>
                </a:lnTo>
                <a:lnTo>
                  <a:pt x="4583229" y="1931936"/>
                </a:lnTo>
                <a:lnTo>
                  <a:pt x="0" y="1931936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defTabSz="685800">
              <a:buClrTx/>
            </a:pPr>
            <a:endParaRPr lang="pl-PL" sz="1350" kern="1200">
              <a:solidFill>
                <a:srgbClr val="36338C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2865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 rot="5400000">
            <a:off x="2065010" y="2371825"/>
            <a:ext cx="3444407" cy="0"/>
          </a:xfrm>
          <a:prstGeom prst="line">
            <a:avLst/>
          </a:prstGeom>
          <a:ln w="28575" cap="rnd">
            <a:solidFill>
              <a:srgbClr val="CAC0F6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514350" y="443314"/>
            <a:ext cx="3008703" cy="2172294"/>
            <a:chOff x="-11520" y="-171451"/>
            <a:chExt cx="5915575" cy="5792784"/>
          </a:xfrm>
        </p:grpSpPr>
        <p:sp>
          <p:nvSpPr>
            <p:cNvPr id="4" name="TextBox 4"/>
            <p:cNvSpPr txBox="1"/>
            <p:nvPr/>
          </p:nvSpPr>
          <p:spPr>
            <a:xfrm>
              <a:off x="0" y="-171451"/>
              <a:ext cx="5904055" cy="20473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6238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4456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 Bold"/>
                  <a:cs typeface="Arial"/>
                  <a:sym typeface="Arial"/>
                </a:rPr>
                <a:t>1:1 work</a:t>
              </a: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-11520" y="3472026"/>
              <a:ext cx="5904055" cy="214930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482"/>
                </a:lnSpc>
                <a:spcBef>
                  <a:spcPts val="180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/>
                  <a:cs typeface="Arial"/>
                  <a:sym typeface="Arial"/>
                </a:rPr>
                <a:t>please go to breakout room to work in team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482"/>
                </a:lnSpc>
                <a:spcBef>
                  <a:spcPts val="180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/>
                  <a:cs typeface="Arial"/>
                  <a:sym typeface="Arial"/>
                </a:rPr>
                <a:t>come back to the main session at 17:20 CET</a:t>
              </a:r>
            </a:p>
          </p:txBody>
        </p:sp>
      </p:grpSp>
      <p:sp>
        <p:nvSpPr>
          <p:cNvPr id="6" name="Freeform 6"/>
          <p:cNvSpPr/>
          <p:nvPr/>
        </p:nvSpPr>
        <p:spPr>
          <a:xfrm rot="2700000">
            <a:off x="7515771" y="3703858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reeform 8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EAE4256-1BB3-4F62-9909-8AAD05E1E6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4418" y="817222"/>
            <a:ext cx="4549373" cy="286258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>
          <a:xfrm rot="2700000">
            <a:off x="6272110" y="2007706"/>
            <a:ext cx="2045790" cy="20574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AutoShape 2"/>
          <p:cNvSpPr/>
          <p:nvPr/>
        </p:nvSpPr>
        <p:spPr>
          <a:xfrm rot="5400000">
            <a:off x="1800850" y="2371825"/>
            <a:ext cx="3444407" cy="0"/>
          </a:xfrm>
          <a:prstGeom prst="line">
            <a:avLst/>
          </a:prstGeom>
          <a:ln w="28575" cap="rnd">
            <a:solidFill>
              <a:srgbClr val="CAC0F6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reeform 8"/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420;p32">
            <a:extLst>
              <a:ext uri="{FF2B5EF4-FFF2-40B4-BE49-F238E27FC236}">
                <a16:creationId xmlns:a16="http://schemas.microsoft.com/office/drawing/2014/main" id="{FEFCAFF7-A828-4AA9-9100-D16878B31EC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523051" cy="2819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4000" b="1" dirty="0">
                <a:latin typeface="Titillium Web"/>
                <a:ea typeface="Titillium Web"/>
                <a:cs typeface="Titillium Web"/>
                <a:sym typeface="Titillium Web"/>
              </a:rPr>
              <a:t>Prototyping Canvas - </a:t>
            </a:r>
          </a:p>
          <a:p>
            <a:pPr algn="r"/>
            <a:r>
              <a:rPr lang="en-GB" sz="4000" b="1" dirty="0">
                <a:latin typeface="Titillium Web"/>
                <a:ea typeface="Titillium Web"/>
                <a:cs typeface="Titillium Web"/>
                <a:sym typeface="Titillium Web"/>
              </a:rPr>
              <a:t>short feedback</a:t>
            </a:r>
          </a:p>
        </p:txBody>
      </p:sp>
      <p:sp>
        <p:nvSpPr>
          <p:cNvPr id="11" name="Google Shape;423;p32">
            <a:extLst>
              <a:ext uri="{FF2B5EF4-FFF2-40B4-BE49-F238E27FC236}">
                <a16:creationId xmlns:a16="http://schemas.microsoft.com/office/drawing/2014/main" id="{92777602-7AD2-4C5F-A7E6-6B368C72AF6D}"/>
              </a:ext>
            </a:extLst>
          </p:cNvPr>
          <p:cNvSpPr txBox="1">
            <a:spLocks/>
          </p:cNvSpPr>
          <p:nvPr/>
        </p:nvSpPr>
        <p:spPr>
          <a:xfrm>
            <a:off x="3588963" y="0"/>
            <a:ext cx="4939087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 sz="1400" b="0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>
              <a:buFont typeface="Titillium Web"/>
              <a:buNone/>
            </a:pPr>
            <a:r>
              <a:rPr lang="en-US" b="1" dirty="0"/>
              <a:t>What did you learn? </a:t>
            </a:r>
          </a:p>
          <a:p>
            <a:pPr marL="0" indent="0">
              <a:buFont typeface="Titillium Web"/>
              <a:buNone/>
            </a:pPr>
            <a:endParaRPr lang="en-US" b="1" dirty="0"/>
          </a:p>
          <a:p>
            <a:pPr marL="0" indent="0">
              <a:buFont typeface="Titillium Web"/>
              <a:buNone/>
            </a:pPr>
            <a:r>
              <a:rPr lang="en-US" b="1" dirty="0"/>
              <a:t>Did you fully answer the questions?</a:t>
            </a:r>
          </a:p>
          <a:p>
            <a:pPr marL="0" indent="0">
              <a:buFont typeface="Titillium Web"/>
              <a:buNone/>
            </a:pPr>
            <a:endParaRPr lang="en-US" b="1" dirty="0"/>
          </a:p>
          <a:p>
            <a:pPr marL="0" indent="0">
              <a:buFont typeface="Titillium Web"/>
              <a:buNone/>
            </a:pPr>
            <a:r>
              <a:rPr lang="en-US" b="1" dirty="0"/>
              <a:t>Biggest challenge? </a:t>
            </a:r>
          </a:p>
          <a:p>
            <a:pPr marL="0" indent="0">
              <a:buFont typeface="Titillium Web"/>
              <a:buNone/>
            </a:pPr>
            <a:endParaRPr lang="en-US" b="1" dirty="0"/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14300" indent="0">
              <a:buNone/>
            </a:pPr>
            <a:r>
              <a:rPr lang="de-DE" dirty="0">
                <a:latin typeface="Calibri Light" panose="020F0302020204030204" pitchFamily="34" charset="0"/>
                <a:cs typeface="Calibri Light" panose="020F0302020204030204" pitchFamily="34" charset="0"/>
              </a:rPr>
              <a:t>More </a:t>
            </a:r>
            <a:r>
              <a:rPr lang="de-DE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n Design </a:t>
            </a:r>
            <a:r>
              <a:rPr lang="de-DE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Thinking</a:t>
            </a:r>
            <a:r>
              <a:rPr lang="de-DE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&amp; Tools</a:t>
            </a:r>
          </a:p>
          <a:p>
            <a:pPr marL="114300" indent="0">
              <a:buNone/>
            </a:pPr>
            <a:r>
              <a:rPr lang="de-DE" dirty="0">
                <a:latin typeface="Calibri Light" panose="020F0302020204030204" pitchFamily="34" charset="0"/>
                <a:cs typeface="Calibri Light" panose="020F0302020204030204" pitchFamily="34" charset="0"/>
              </a:rPr>
              <a:t>https://en.dt-toolbook.com/tools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DE41A03-FE2E-4C07-8DEE-42D114418C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19171" y="987589"/>
            <a:ext cx="1726531" cy="139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4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7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4"/>
          <p:cNvSpPr txBox="1"/>
          <p:nvPr/>
        </p:nvSpPr>
        <p:spPr>
          <a:xfrm>
            <a:off x="0" y="313507"/>
            <a:ext cx="9144000" cy="53495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3985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906" b="0" i="0" u="none" strike="noStrike" kern="1200" cap="none" spc="5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Arial"/>
              </a:rPr>
              <a:t>Save the Dates</a:t>
            </a:r>
          </a:p>
        </p:txBody>
      </p:sp>
      <p:cxnSp>
        <p:nvCxnSpPr>
          <p:cNvPr id="79" name="Google Shape;777;p53">
            <a:extLst>
              <a:ext uri="{FF2B5EF4-FFF2-40B4-BE49-F238E27FC236}">
                <a16:creationId xmlns:a16="http://schemas.microsoft.com/office/drawing/2014/main" id="{955417B8-E0AE-4329-B0DA-F28875F10667}"/>
              </a:ext>
            </a:extLst>
          </p:cNvPr>
          <p:cNvCxnSpPr/>
          <p:nvPr/>
        </p:nvCxnSpPr>
        <p:spPr>
          <a:xfrm rot="10800000">
            <a:off x="2407097" y="2557374"/>
            <a:ext cx="0" cy="408000"/>
          </a:xfrm>
          <a:prstGeom prst="straightConnector1">
            <a:avLst/>
          </a:prstGeom>
          <a:noFill/>
          <a:ln w="38100" cap="flat" cmpd="sng">
            <a:solidFill>
              <a:schemeClr val="accent4">
                <a:lumMod val="75000"/>
              </a:schemeClr>
            </a:solidFill>
            <a:prstDash val="solid"/>
            <a:round/>
            <a:headEnd type="oval" w="med" len="med"/>
            <a:tailEnd type="none" w="med" len="med"/>
          </a:ln>
        </p:spPr>
      </p:cxnSp>
      <p:cxnSp>
        <p:nvCxnSpPr>
          <p:cNvPr id="84" name="Google Shape;777;p53">
            <a:extLst>
              <a:ext uri="{FF2B5EF4-FFF2-40B4-BE49-F238E27FC236}">
                <a16:creationId xmlns:a16="http://schemas.microsoft.com/office/drawing/2014/main" id="{9A59DC77-2926-42A5-84EB-646C503D10D1}"/>
              </a:ext>
            </a:extLst>
          </p:cNvPr>
          <p:cNvCxnSpPr/>
          <p:nvPr/>
        </p:nvCxnSpPr>
        <p:spPr>
          <a:xfrm rot="10800000">
            <a:off x="4561644" y="2574708"/>
            <a:ext cx="0" cy="408000"/>
          </a:xfrm>
          <a:prstGeom prst="straightConnector1">
            <a:avLst/>
          </a:prstGeom>
          <a:noFill/>
          <a:ln w="38100" cap="flat" cmpd="sng">
            <a:solidFill>
              <a:schemeClr val="accent4">
                <a:lumMod val="75000"/>
              </a:schemeClr>
            </a:solidFill>
            <a:prstDash val="solid"/>
            <a:round/>
            <a:headEnd type="oval" w="med" len="med"/>
            <a:tailEnd type="none" w="med" len="med"/>
          </a:ln>
        </p:spPr>
      </p:cxnSp>
      <p:cxnSp>
        <p:nvCxnSpPr>
          <p:cNvPr id="89" name="Google Shape;777;p53">
            <a:extLst>
              <a:ext uri="{FF2B5EF4-FFF2-40B4-BE49-F238E27FC236}">
                <a16:creationId xmlns:a16="http://schemas.microsoft.com/office/drawing/2014/main" id="{FD600F69-8073-4780-8C7A-834A1F3DBCEB}"/>
              </a:ext>
            </a:extLst>
          </p:cNvPr>
          <p:cNvCxnSpPr/>
          <p:nvPr/>
        </p:nvCxnSpPr>
        <p:spPr>
          <a:xfrm rot="10800000">
            <a:off x="7067445" y="2574708"/>
            <a:ext cx="0" cy="408000"/>
          </a:xfrm>
          <a:prstGeom prst="straightConnector1">
            <a:avLst/>
          </a:prstGeom>
          <a:noFill/>
          <a:ln w="38100" cap="flat" cmpd="sng">
            <a:solidFill>
              <a:schemeClr val="accent4">
                <a:lumMod val="75000"/>
              </a:schemeClr>
            </a:solidFill>
            <a:prstDash val="solid"/>
            <a:round/>
            <a:headEnd type="oval" w="med" len="med"/>
            <a:tailEnd type="none" w="med" len="med"/>
          </a:ln>
        </p:spPr>
      </p:cxnSp>
      <p:cxnSp>
        <p:nvCxnSpPr>
          <p:cNvPr id="107" name="Łącznik prosty ze strzałką 9">
            <a:extLst>
              <a:ext uri="{FF2B5EF4-FFF2-40B4-BE49-F238E27FC236}">
                <a16:creationId xmlns:a16="http://schemas.microsoft.com/office/drawing/2014/main" id="{BF036776-4486-409C-83A1-CE841D6C9CAF}"/>
              </a:ext>
            </a:extLst>
          </p:cNvPr>
          <p:cNvCxnSpPr/>
          <p:nvPr/>
        </p:nvCxnSpPr>
        <p:spPr>
          <a:xfrm>
            <a:off x="962183" y="2563875"/>
            <a:ext cx="7284944" cy="31937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reeform 2">
            <a:extLst>
              <a:ext uri="{FF2B5EF4-FFF2-40B4-BE49-F238E27FC236}">
                <a16:creationId xmlns:a16="http://schemas.microsoft.com/office/drawing/2014/main" id="{F35F5313-2FC3-4FF3-B38D-8A69A29AF9FA}"/>
              </a:ext>
            </a:extLst>
          </p:cNvPr>
          <p:cNvSpPr/>
          <p:nvPr/>
        </p:nvSpPr>
        <p:spPr>
          <a:xfrm>
            <a:off x="6110909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5" name="Freeform 3">
            <a:extLst>
              <a:ext uri="{FF2B5EF4-FFF2-40B4-BE49-F238E27FC236}">
                <a16:creationId xmlns:a16="http://schemas.microsoft.com/office/drawing/2014/main" id="{C18ECF39-E6DC-4F86-838F-8D1F16C22E9D}"/>
              </a:ext>
            </a:extLst>
          </p:cNvPr>
          <p:cNvSpPr/>
          <p:nvPr/>
        </p:nvSpPr>
        <p:spPr>
          <a:xfrm>
            <a:off x="514350" y="4520035"/>
            <a:ext cx="1128776" cy="475805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pl-P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grpSp>
        <p:nvGrpSpPr>
          <p:cNvPr id="28" name="Google Shape;773;p53">
            <a:extLst>
              <a:ext uri="{FF2B5EF4-FFF2-40B4-BE49-F238E27FC236}">
                <a16:creationId xmlns:a16="http://schemas.microsoft.com/office/drawing/2014/main" id="{B0CE755E-9FF9-42AF-93DB-01460DF871A5}"/>
              </a:ext>
            </a:extLst>
          </p:cNvPr>
          <p:cNvGrpSpPr/>
          <p:nvPr/>
        </p:nvGrpSpPr>
        <p:grpSpPr>
          <a:xfrm>
            <a:off x="1560819" y="3063588"/>
            <a:ext cx="1763700" cy="787272"/>
            <a:chOff x="713237" y="2096688"/>
            <a:chExt cx="1763700" cy="787272"/>
          </a:xfrm>
        </p:grpSpPr>
        <p:sp>
          <p:nvSpPr>
            <p:cNvPr id="30" name="Google Shape;774;p53">
              <a:extLst>
                <a:ext uri="{FF2B5EF4-FFF2-40B4-BE49-F238E27FC236}">
                  <a16:creationId xmlns:a16="http://schemas.microsoft.com/office/drawing/2014/main" id="{B07CA873-D948-4568-8CA6-D01565CD9A22}"/>
                </a:ext>
              </a:extLst>
            </p:cNvPr>
            <p:cNvSpPr txBox="1"/>
            <p:nvPr/>
          </p:nvSpPr>
          <p:spPr>
            <a:xfrm>
              <a:off x="713237" y="2096688"/>
              <a:ext cx="1763700" cy="368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25</a:t>
              </a:r>
              <a:r>
                <a:rPr lang="en-GB" sz="1200" b="1" i="1" kern="1200" baseline="300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th</a:t>
              </a: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 June 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16:00 - 17:30 CET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</p:txBody>
        </p:sp>
        <p:sp>
          <p:nvSpPr>
            <p:cNvPr id="31" name="Google Shape;776;p53">
              <a:extLst>
                <a:ext uri="{FF2B5EF4-FFF2-40B4-BE49-F238E27FC236}">
                  <a16:creationId xmlns:a16="http://schemas.microsoft.com/office/drawing/2014/main" id="{9724949E-6290-45A4-8517-A1125FF2C53B}"/>
                </a:ext>
              </a:extLst>
            </p:cNvPr>
            <p:cNvSpPr txBox="1"/>
            <p:nvPr/>
          </p:nvSpPr>
          <p:spPr>
            <a:xfrm>
              <a:off x="1015620" y="2363160"/>
              <a:ext cx="1150800" cy="52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b="1" noProof="1">
                  <a:solidFill>
                    <a:schemeClr val="dk1"/>
                  </a:solidFill>
                  <a:latin typeface="Titillium Web"/>
                </a:rPr>
                <a:t>Tech show Biz</a:t>
              </a:r>
              <a:endParaRPr sz="1100" b="1">
                <a:solidFill>
                  <a:schemeClr val="dk1"/>
                </a:solidFill>
                <a:latin typeface="Titillium Web"/>
                <a:sym typeface="Titillium Web"/>
              </a:endParaRPr>
            </a:p>
          </p:txBody>
        </p:sp>
      </p:grpSp>
      <p:grpSp>
        <p:nvGrpSpPr>
          <p:cNvPr id="33" name="Google Shape;773;p53">
            <a:extLst>
              <a:ext uri="{FF2B5EF4-FFF2-40B4-BE49-F238E27FC236}">
                <a16:creationId xmlns:a16="http://schemas.microsoft.com/office/drawing/2014/main" id="{69DCB528-E147-48F3-A1AC-A502C20C1073}"/>
              </a:ext>
            </a:extLst>
          </p:cNvPr>
          <p:cNvGrpSpPr/>
          <p:nvPr/>
        </p:nvGrpSpPr>
        <p:grpSpPr>
          <a:xfrm>
            <a:off x="3715366" y="3080922"/>
            <a:ext cx="1763700" cy="787272"/>
            <a:chOff x="713237" y="2096688"/>
            <a:chExt cx="1763700" cy="787272"/>
          </a:xfrm>
        </p:grpSpPr>
        <p:sp>
          <p:nvSpPr>
            <p:cNvPr id="35" name="Google Shape;774;p53">
              <a:extLst>
                <a:ext uri="{FF2B5EF4-FFF2-40B4-BE49-F238E27FC236}">
                  <a16:creationId xmlns:a16="http://schemas.microsoft.com/office/drawing/2014/main" id="{A1930BAD-BF2B-49E4-95A7-0840A2EF2586}"/>
                </a:ext>
              </a:extLst>
            </p:cNvPr>
            <p:cNvSpPr txBox="1"/>
            <p:nvPr/>
          </p:nvSpPr>
          <p:spPr>
            <a:xfrm>
              <a:off x="713237" y="2096688"/>
              <a:ext cx="1763700" cy="368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27</a:t>
              </a:r>
              <a:r>
                <a:rPr lang="en-GB" sz="1200" b="1" i="1" kern="1200" baseline="300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th</a:t>
              </a: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 June 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16:00 - 17:30 CET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</p:txBody>
        </p:sp>
        <p:sp>
          <p:nvSpPr>
            <p:cNvPr id="36" name="Google Shape;776;p53">
              <a:extLst>
                <a:ext uri="{FF2B5EF4-FFF2-40B4-BE49-F238E27FC236}">
                  <a16:creationId xmlns:a16="http://schemas.microsoft.com/office/drawing/2014/main" id="{8C54B408-2C97-4643-997B-8A90627B5EFD}"/>
                </a:ext>
              </a:extLst>
            </p:cNvPr>
            <p:cNvSpPr txBox="1"/>
            <p:nvPr/>
          </p:nvSpPr>
          <p:spPr>
            <a:xfrm>
              <a:off x="1015620" y="2363160"/>
              <a:ext cx="1150800" cy="52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 defTabSz="1088502">
                <a:buClrTx/>
              </a:pPr>
              <a:r>
                <a:rPr lang="en-GB" sz="1100" b="1" noProof="1">
                  <a:solidFill>
                    <a:schemeClr val="dk1"/>
                  </a:solidFill>
                  <a:latin typeface="Titillium Web"/>
                </a:rPr>
                <a:t>Biz show Tech</a:t>
              </a:r>
            </a:p>
          </p:txBody>
        </p:sp>
      </p:grpSp>
      <p:grpSp>
        <p:nvGrpSpPr>
          <p:cNvPr id="38" name="Google Shape;773;p53">
            <a:extLst>
              <a:ext uri="{FF2B5EF4-FFF2-40B4-BE49-F238E27FC236}">
                <a16:creationId xmlns:a16="http://schemas.microsoft.com/office/drawing/2014/main" id="{3E2311DE-80B5-45ED-9FEC-FCBE7DA0E162}"/>
              </a:ext>
            </a:extLst>
          </p:cNvPr>
          <p:cNvGrpSpPr/>
          <p:nvPr/>
        </p:nvGrpSpPr>
        <p:grpSpPr>
          <a:xfrm>
            <a:off x="6221167" y="3080922"/>
            <a:ext cx="1763700" cy="787272"/>
            <a:chOff x="713237" y="2096688"/>
            <a:chExt cx="1763700" cy="787272"/>
          </a:xfrm>
        </p:grpSpPr>
        <p:sp>
          <p:nvSpPr>
            <p:cNvPr id="40" name="Google Shape;774;p53">
              <a:extLst>
                <a:ext uri="{FF2B5EF4-FFF2-40B4-BE49-F238E27FC236}">
                  <a16:creationId xmlns:a16="http://schemas.microsoft.com/office/drawing/2014/main" id="{1D92AB67-C642-477E-BFD8-5B0DE89D76A0}"/>
                </a:ext>
              </a:extLst>
            </p:cNvPr>
            <p:cNvSpPr txBox="1"/>
            <p:nvPr/>
          </p:nvSpPr>
          <p:spPr>
            <a:xfrm>
              <a:off x="713237" y="2096688"/>
              <a:ext cx="1763700" cy="368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21</a:t>
              </a:r>
              <a:r>
                <a:rPr lang="en-GB" sz="1200" b="1" i="1" kern="1200" baseline="300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th</a:t>
              </a: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 June 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i="1" kern="1200" dirty="0">
                  <a:solidFill>
                    <a:schemeClr val="bg1"/>
                  </a:solidFill>
                  <a:latin typeface="Calibri"/>
                  <a:ea typeface="+mn-ea"/>
                  <a:cs typeface="+mn-cs"/>
                  <a:sym typeface="Titillium Web"/>
                </a:rPr>
                <a:t>16:00 - 17:00 CET</a:t>
              </a:r>
              <a:endParaRPr sz="1200" b="1" i="1" kern="1200" dirty="0">
                <a:solidFill>
                  <a:schemeClr val="bg1"/>
                </a:solidFill>
                <a:latin typeface="Calibri"/>
                <a:ea typeface="+mn-ea"/>
                <a:cs typeface="+mn-cs"/>
                <a:sym typeface="Titillium Web"/>
              </a:endParaRPr>
            </a:p>
          </p:txBody>
        </p:sp>
        <p:sp>
          <p:nvSpPr>
            <p:cNvPr id="41" name="Google Shape;776;p53">
              <a:extLst>
                <a:ext uri="{FF2B5EF4-FFF2-40B4-BE49-F238E27FC236}">
                  <a16:creationId xmlns:a16="http://schemas.microsoft.com/office/drawing/2014/main" id="{871F457D-F9BA-41C0-B3B5-AFBEDC6495E3}"/>
                </a:ext>
              </a:extLst>
            </p:cNvPr>
            <p:cNvSpPr txBox="1"/>
            <p:nvPr/>
          </p:nvSpPr>
          <p:spPr>
            <a:xfrm>
              <a:off x="1015620" y="2363160"/>
              <a:ext cx="1150800" cy="52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00" b="1">
                  <a:solidFill>
                    <a:schemeClr val="dk1"/>
                  </a:solidFill>
                  <a:latin typeface="Titillium Web"/>
                  <a:sym typeface="Titillium Web"/>
                </a:rPr>
                <a:t>Q&amp;A and more!</a:t>
              </a:r>
              <a:endParaRPr sz="1100" b="1">
                <a:solidFill>
                  <a:schemeClr val="dk1"/>
                </a:solidFill>
                <a:latin typeface="Titillium Web"/>
                <a:sym typeface="Titillium Web"/>
              </a:endParaRPr>
            </a:p>
          </p:txBody>
        </p:sp>
      </p:grpSp>
      <p:sp>
        <p:nvSpPr>
          <p:cNvPr id="42" name="Google Shape;1169;p45">
            <a:hlinkClick r:id="" action="ppaction://noaction"/>
            <a:extLst>
              <a:ext uri="{FF2B5EF4-FFF2-40B4-BE49-F238E27FC236}">
                <a16:creationId xmlns:a16="http://schemas.microsoft.com/office/drawing/2014/main" id="{D00EEB37-0475-4DB3-B919-2C7FF5A915C2}"/>
              </a:ext>
            </a:extLst>
          </p:cNvPr>
          <p:cNvSpPr txBox="1"/>
          <p:nvPr/>
        </p:nvSpPr>
        <p:spPr>
          <a:xfrm>
            <a:off x="5425850" y="3829096"/>
            <a:ext cx="1097700" cy="5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solidFill>
                  <a:schemeClr val="accent4">
                    <a:lumMod val="75000"/>
                  </a:schemeClr>
                </a:solidFill>
                <a:latin typeface="Poppins"/>
                <a:ea typeface="Poppins"/>
                <a:cs typeface="Poppins"/>
                <a:sym typeface="Poppins"/>
              </a:rPr>
              <a:t>Week 4</a:t>
            </a:r>
            <a:endParaRPr sz="1800" b="1">
              <a:solidFill>
                <a:schemeClr val="accent4">
                  <a:lumMod val="75000"/>
                </a:schemeClr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43" name="Google Shape;1170;p45">
            <a:hlinkClick r:id="" action="ppaction://noaction"/>
            <a:extLst>
              <a:ext uri="{FF2B5EF4-FFF2-40B4-BE49-F238E27FC236}">
                <a16:creationId xmlns:a16="http://schemas.microsoft.com/office/drawing/2014/main" id="{3FEBEE92-7660-44FB-B48F-2CB4617DE86A}"/>
              </a:ext>
            </a:extLst>
          </p:cNvPr>
          <p:cNvSpPr txBox="1"/>
          <p:nvPr/>
        </p:nvSpPr>
        <p:spPr>
          <a:xfrm>
            <a:off x="6647956" y="3816526"/>
            <a:ext cx="1232700" cy="5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solidFill>
                  <a:schemeClr val="accent4">
                    <a:lumMod val="75000"/>
                  </a:schemeClr>
                </a:solidFill>
                <a:latin typeface="Poppins"/>
                <a:ea typeface="Poppins"/>
                <a:cs typeface="Poppins"/>
                <a:sym typeface="Poppins"/>
              </a:rPr>
              <a:t>Week 5</a:t>
            </a:r>
            <a:endParaRPr sz="1800" b="1">
              <a:solidFill>
                <a:schemeClr val="accent4">
                  <a:lumMod val="75000"/>
                </a:schemeClr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44" name="Google Shape;1172;p45">
            <a:extLst>
              <a:ext uri="{FF2B5EF4-FFF2-40B4-BE49-F238E27FC236}">
                <a16:creationId xmlns:a16="http://schemas.microsoft.com/office/drawing/2014/main" id="{635AE473-204B-4F83-8174-337AFD6AF43B}"/>
              </a:ext>
            </a:extLst>
          </p:cNvPr>
          <p:cNvSpPr txBox="1"/>
          <p:nvPr/>
        </p:nvSpPr>
        <p:spPr>
          <a:xfrm>
            <a:off x="1588462" y="3803774"/>
            <a:ext cx="1097700" cy="5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1800" b="1">
                <a:solidFill>
                  <a:schemeClr val="accent1"/>
                </a:solidFill>
                <a:latin typeface="Poppins"/>
                <a:ea typeface="Poppins"/>
                <a:cs typeface="Poppins"/>
              </a:defRPr>
            </a:lvl1pPr>
          </a:lstStyle>
          <a:p>
            <a:r>
              <a:rPr lang="en-GB">
                <a:solidFill>
                  <a:schemeClr val="accent4">
                    <a:lumMod val="75000"/>
                  </a:schemeClr>
                </a:solidFill>
                <a:sym typeface="Poppins"/>
              </a:rPr>
              <a:t>Week 1 </a:t>
            </a:r>
            <a:endParaRPr>
              <a:solidFill>
                <a:schemeClr val="accent4">
                  <a:lumMod val="75000"/>
                </a:schemeClr>
              </a:solidFill>
              <a:sym typeface="Poppins"/>
            </a:endParaRPr>
          </a:p>
        </p:txBody>
      </p:sp>
      <p:sp>
        <p:nvSpPr>
          <p:cNvPr id="45" name="Google Shape;1173;p45">
            <a:extLst>
              <a:ext uri="{FF2B5EF4-FFF2-40B4-BE49-F238E27FC236}">
                <a16:creationId xmlns:a16="http://schemas.microsoft.com/office/drawing/2014/main" id="{694D2B79-27EE-4BF9-B8CF-0F95CA4F397C}"/>
              </a:ext>
            </a:extLst>
          </p:cNvPr>
          <p:cNvSpPr txBox="1"/>
          <p:nvPr/>
        </p:nvSpPr>
        <p:spPr>
          <a:xfrm>
            <a:off x="4150183" y="3819750"/>
            <a:ext cx="1097700" cy="5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solidFill>
                  <a:schemeClr val="accent4">
                    <a:lumMod val="75000"/>
                  </a:schemeClr>
                </a:solidFill>
                <a:latin typeface="Poppins"/>
                <a:ea typeface="Poppins"/>
                <a:cs typeface="Poppins"/>
                <a:sym typeface="Poppins"/>
              </a:rPr>
              <a:t>Week 3</a:t>
            </a:r>
            <a:endParaRPr sz="1800" b="1">
              <a:solidFill>
                <a:schemeClr val="accent4">
                  <a:lumMod val="75000"/>
                </a:schemeClr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46" name="Rechteck 29">
            <a:extLst>
              <a:ext uri="{FF2B5EF4-FFF2-40B4-BE49-F238E27FC236}">
                <a16:creationId xmlns:a16="http://schemas.microsoft.com/office/drawing/2014/main" id="{5E6D3690-D33A-499C-AEC5-F4CBBE19F241}"/>
              </a:ext>
            </a:extLst>
          </p:cNvPr>
          <p:cNvSpPr/>
          <p:nvPr/>
        </p:nvSpPr>
        <p:spPr bwMode="auto">
          <a:xfrm>
            <a:off x="1765939" y="2083989"/>
            <a:ext cx="1455824" cy="3854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t" anchorCtr="0"/>
          <a:lstStyle/>
          <a:p>
            <a:pPr algn="ctr" defTabSz="1088502">
              <a:spcBef>
                <a:spcPct val="50000"/>
              </a:spcBef>
              <a:buClrTx/>
              <a:buFontTx/>
              <a:buNone/>
            </a:pPr>
            <a:r>
              <a:rPr lang="en-GB" sz="1100" b="1" noProof="1">
                <a:solidFill>
                  <a:schemeClr val="dk1"/>
                </a:solidFill>
                <a:latin typeface="Titillium Web"/>
              </a:rPr>
              <a:t>Session 4: </a:t>
            </a:r>
            <a:r>
              <a:rPr lang="en-GB" sz="1050" b="1" noProof="1">
                <a:solidFill>
                  <a:schemeClr val="dk1"/>
                </a:solidFill>
                <a:latin typeface="Titillium Web"/>
              </a:rPr>
              <a:t>Speed dating Prototyping</a:t>
            </a:r>
          </a:p>
        </p:txBody>
      </p:sp>
      <p:sp>
        <p:nvSpPr>
          <p:cNvPr id="47" name="Rechteck 29">
            <a:extLst>
              <a:ext uri="{FF2B5EF4-FFF2-40B4-BE49-F238E27FC236}">
                <a16:creationId xmlns:a16="http://schemas.microsoft.com/office/drawing/2014/main" id="{0A7A8DA1-B67A-4686-A53F-296D9363E89F}"/>
              </a:ext>
            </a:extLst>
          </p:cNvPr>
          <p:cNvSpPr/>
          <p:nvPr/>
        </p:nvSpPr>
        <p:spPr bwMode="auto">
          <a:xfrm>
            <a:off x="3962227" y="2079550"/>
            <a:ext cx="1403664" cy="3886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t" anchorCtr="0"/>
          <a:lstStyle/>
          <a:p>
            <a:pPr algn="ctr" defTabSz="1088502">
              <a:buClrTx/>
            </a:pPr>
            <a:r>
              <a:rPr lang="en-GB" sz="1100" b="1" noProof="1">
                <a:solidFill>
                  <a:schemeClr val="dk1"/>
                </a:solidFill>
                <a:latin typeface="Titillium Web"/>
              </a:rPr>
              <a:t>Session 5: </a:t>
            </a:r>
            <a:r>
              <a:rPr lang="en-GB" sz="1050" b="1" noProof="1">
                <a:solidFill>
                  <a:schemeClr val="dk1"/>
                </a:solidFill>
                <a:latin typeface="Titillium Web"/>
              </a:rPr>
              <a:t>Speed dating Business Model </a:t>
            </a:r>
          </a:p>
        </p:txBody>
      </p:sp>
      <p:sp>
        <p:nvSpPr>
          <p:cNvPr id="48" name="Rechteck 29">
            <a:extLst>
              <a:ext uri="{FF2B5EF4-FFF2-40B4-BE49-F238E27FC236}">
                <a16:creationId xmlns:a16="http://schemas.microsoft.com/office/drawing/2014/main" id="{7006555E-81FA-4125-BE68-2B4F61DF1E86}"/>
              </a:ext>
            </a:extLst>
          </p:cNvPr>
          <p:cNvSpPr/>
          <p:nvPr/>
        </p:nvSpPr>
        <p:spPr bwMode="auto">
          <a:xfrm>
            <a:off x="6472082" y="2081162"/>
            <a:ext cx="1409776" cy="39168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t" anchorCtr="0"/>
          <a:lstStyle/>
          <a:p>
            <a:pPr algn="ctr" defTabSz="1088502">
              <a:lnSpc>
                <a:spcPct val="200000"/>
              </a:lnSpc>
              <a:spcBef>
                <a:spcPct val="50000"/>
              </a:spcBef>
              <a:buClrTx/>
              <a:buFontTx/>
              <a:buNone/>
            </a:pPr>
            <a:r>
              <a:rPr lang="en-GB" sz="1100" b="1" noProof="1">
                <a:solidFill>
                  <a:schemeClr val="dk1"/>
                </a:solidFill>
                <a:latin typeface="Titillium Web"/>
              </a:rPr>
              <a:t>Friday: </a:t>
            </a:r>
            <a:r>
              <a:rPr lang="en-GB" sz="1050" b="1" noProof="1">
                <a:solidFill>
                  <a:schemeClr val="dk1"/>
                </a:solidFill>
                <a:latin typeface="Titillium Web"/>
              </a:rPr>
              <a:t>hang-out</a:t>
            </a:r>
          </a:p>
        </p:txBody>
      </p:sp>
      <p:sp>
        <p:nvSpPr>
          <p:cNvPr id="50" name="Google Shape;1174;p45">
            <a:extLst>
              <a:ext uri="{FF2B5EF4-FFF2-40B4-BE49-F238E27FC236}">
                <a16:creationId xmlns:a16="http://schemas.microsoft.com/office/drawing/2014/main" id="{5AB11C5D-7B08-4267-B50D-B31E4CFED2AA}"/>
              </a:ext>
            </a:extLst>
          </p:cNvPr>
          <p:cNvSpPr/>
          <p:nvPr/>
        </p:nvSpPr>
        <p:spPr>
          <a:xfrm>
            <a:off x="2923453" y="4272651"/>
            <a:ext cx="795600" cy="4571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1173;p45">
            <a:extLst>
              <a:ext uri="{FF2B5EF4-FFF2-40B4-BE49-F238E27FC236}">
                <a16:creationId xmlns:a16="http://schemas.microsoft.com/office/drawing/2014/main" id="{3B29FA30-1B31-4C55-B24F-67DA01F264E4}"/>
              </a:ext>
            </a:extLst>
          </p:cNvPr>
          <p:cNvSpPr txBox="1"/>
          <p:nvPr/>
        </p:nvSpPr>
        <p:spPr>
          <a:xfrm>
            <a:off x="2909784" y="3829096"/>
            <a:ext cx="1097700" cy="520800"/>
          </a:xfrm>
          <a:prstGeom prst="rect">
            <a:avLst/>
          </a:prstGeom>
          <a:gradFill>
            <a:gsLst>
              <a:gs pos="0">
                <a:srgbClr val="AA9EEE">
                  <a:alpha val="12549"/>
                </a:srgbClr>
              </a:gs>
              <a:gs pos="100000">
                <a:srgbClr val="FFFFFF"/>
              </a:gs>
            </a:gsLst>
            <a:lin ang="1619866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1800" b="1">
                <a:solidFill>
                  <a:srgbClr val="7966E4"/>
                </a:solidFill>
                <a:latin typeface="Poppins"/>
                <a:ea typeface="Poppins"/>
                <a:cs typeface="Poppins"/>
              </a:defRPr>
            </a:lvl1pPr>
          </a:lstStyle>
          <a:p>
            <a:r>
              <a:rPr lang="en-GB" dirty="0">
                <a:sym typeface="Poppins"/>
              </a:rPr>
              <a:t>Week 2</a:t>
            </a:r>
            <a:endParaRPr dirty="0">
              <a:sym typeface="Poppin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BFA77AC-077C-47A0-BF64-97EBC75694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2056" y="906079"/>
            <a:ext cx="1013954" cy="112687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BD34728-EF9C-4F05-A9DB-5E372DA937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8356" y="967672"/>
            <a:ext cx="970989" cy="106527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45D9461-4294-4418-B637-ABE73BB33A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3643" y="866829"/>
            <a:ext cx="1130613" cy="1205815"/>
          </a:xfrm>
          <a:prstGeom prst="rect">
            <a:avLst/>
          </a:prstGeom>
        </p:spPr>
      </p:pic>
    </p:spTree>
  </p:cSld>
  <p:clrMapOvr>
    <a:masterClrMapping/>
  </p:clrMapOvr>
  <p:transition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PRESENTATIONLOAD">
  <a:themeElements>
    <a:clrScheme name="Benutzerdefiniert 3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6E0E61-7A04-455F-B8DC-BD94EE1E3A0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D9FD65-AB4C-43E0-B0FA-96C5C64F8B72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http://www.w3.org/XML/1998/namespace"/>
    <ds:schemaRef ds:uri="dda4a6e4-fa3f-4326-afe4-365fbf8b885d"/>
    <ds:schemaRef ds:uri="c7bc4340-b040-4ab0-9594-09bc24f60c3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4CB6277-6BF4-46BE-B8D0-7561AC95FCA0}">
  <ds:schemaRefs>
    <ds:schemaRef ds:uri="c7bc4340-b040-4ab0-9594-09bc24f60c36"/>
    <ds:schemaRef ds:uri="dda4a6e4-fa3f-4326-afe4-365fbf8b885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5</Words>
  <Application>Microsoft Office PowerPoint</Application>
  <PresentationFormat>Bildschirmpräsentation (16:9)</PresentationFormat>
  <Paragraphs>242</Paragraphs>
  <Slides>1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34" baseType="lpstr">
      <vt:lpstr>Poppins</vt:lpstr>
      <vt:lpstr>Poppins ExtraBold</vt:lpstr>
      <vt:lpstr>Livvic</vt:lpstr>
      <vt:lpstr>Calibri</vt:lpstr>
      <vt:lpstr>Titillium Web</vt:lpstr>
      <vt:lpstr>Titillium Web Bold</vt:lpstr>
      <vt:lpstr>Arial</vt:lpstr>
      <vt:lpstr>Raleway Black</vt:lpstr>
      <vt:lpstr>Wingdings</vt:lpstr>
      <vt:lpstr>Libre Franklin</vt:lpstr>
      <vt:lpstr>Calibri Light</vt:lpstr>
      <vt:lpstr>Roboto Condensed Light</vt:lpstr>
      <vt:lpstr>Bebas Neue</vt:lpstr>
      <vt:lpstr>Source Sans Pro</vt:lpstr>
      <vt:lpstr>Open Sans</vt:lpstr>
      <vt:lpstr>Titillium Web SemiBold</vt:lpstr>
      <vt:lpstr>Management System Planner by Slidesgo</vt:lpstr>
      <vt:lpstr>Office Theme</vt:lpstr>
      <vt:lpstr>1_Management System Planner by Slidesgo</vt:lpstr>
      <vt:lpstr>2_PRESENTATIONLOAD</vt:lpstr>
      <vt:lpstr>think-cell Foli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rototype canva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f-discovery Session</dc:title>
  <dc:creator>Administrador</dc:creator>
  <cp:lastModifiedBy>Sylwia Sekula-Neuner</cp:lastModifiedBy>
  <cp:revision>101</cp:revision>
  <cp:lastPrinted>2023-06-14T16:31:34Z</cp:lastPrinted>
  <dcterms:modified xsi:type="dcterms:W3CDTF">2024-06-26T07:2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